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8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tags/tag2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1.xml" ContentType="application/vnd.openxmlformats-officedocument.presentationml.notesSlide+xml"/>
  <Override PartName="/ppt/tags/tag2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68" r:id="rId4"/>
    <p:sldMasterId id="2147484119" r:id="rId5"/>
    <p:sldMasterId id="2147484085" r:id="rId6"/>
    <p:sldMasterId id="2147484074" r:id="rId7"/>
    <p:sldMasterId id="2147484213" r:id="rId8"/>
  </p:sldMasterIdLst>
  <p:notesMasterIdLst>
    <p:notesMasterId r:id="rId26"/>
  </p:notesMasterIdLst>
  <p:handoutMasterIdLst>
    <p:handoutMasterId r:id="rId27"/>
  </p:handoutMasterIdLst>
  <p:sldIdLst>
    <p:sldId id="1881839073" r:id="rId9"/>
    <p:sldId id="2147469108" r:id="rId10"/>
    <p:sldId id="1881839152" r:id="rId11"/>
    <p:sldId id="2147469080" r:id="rId12"/>
    <p:sldId id="2147469089" r:id="rId13"/>
    <p:sldId id="2147469081" r:id="rId14"/>
    <p:sldId id="2147469090" r:id="rId15"/>
    <p:sldId id="2147469086" r:id="rId16"/>
    <p:sldId id="2147469092" r:id="rId17"/>
    <p:sldId id="2147469094" r:id="rId18"/>
    <p:sldId id="2147469097" r:id="rId19"/>
    <p:sldId id="2147469104" r:id="rId20"/>
    <p:sldId id="2147469100" r:id="rId21"/>
    <p:sldId id="2147469101" r:id="rId22"/>
    <p:sldId id="2147469103" r:id="rId23"/>
    <p:sldId id="2147469106" r:id="rId24"/>
    <p:sldId id="2147469107" r:id="rId25"/>
  </p:sldIdLst>
  <p:sldSz cx="1219200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7E458B67-C412-0511-FAB3-4B17EB321652}" name="Chris Kramer" initials="CK" userId="S::Christopher.Kramer@ey.com::91898555-a6b5-4c1b-8618-941af9b6286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47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2E38"/>
    <a:srgbClr val="FFC000"/>
    <a:srgbClr val="1A1A24"/>
    <a:srgbClr val="27ACAA"/>
    <a:srgbClr val="188CE5"/>
    <a:srgbClr val="2DB757"/>
    <a:srgbClr val="32FFFF"/>
    <a:srgbClr val="FF00FF"/>
    <a:srgbClr val="C5FD45"/>
    <a:srgbClr val="80FB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820C67-65E0-46FF-8C90-3EE23CD4DF2C}" v="3" dt="2025-05-28T19:10:45.7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404" autoAdjust="0"/>
  </p:normalViewPr>
  <p:slideViewPr>
    <p:cSldViewPr snapToObjects="1" showGuides="1">
      <p:cViewPr varScale="1">
        <p:scale>
          <a:sx n="74" d="100"/>
          <a:sy n="74" d="100"/>
        </p:scale>
        <p:origin x="376" y="56"/>
      </p:cViewPr>
      <p:guideLst/>
    </p:cSldViewPr>
  </p:slideViewPr>
  <p:outlineViewPr>
    <p:cViewPr>
      <p:scale>
        <a:sx n="33" d="100"/>
        <a:sy n="33" d="100"/>
      </p:scale>
      <p:origin x="0" y="-13548"/>
    </p:cViewPr>
  </p:outlineViewPr>
  <p:notesTextViewPr>
    <p:cViewPr>
      <p:scale>
        <a:sx n="50" d="100"/>
        <a:sy n="50" d="100"/>
      </p:scale>
      <p:origin x="0" y="0"/>
    </p:cViewPr>
  </p:notesTextViewPr>
  <p:sorterViewPr>
    <p:cViewPr varScale="1">
      <p:scale>
        <a:sx n="1" d="1"/>
        <a:sy n="1" d="1"/>
      </p:scale>
      <p:origin x="0" y="-26814"/>
    </p:cViewPr>
  </p:sorterViewPr>
  <p:notesViewPr>
    <p:cSldViewPr snapToObjects="1" showGuides="1">
      <p:cViewPr varScale="1">
        <p:scale>
          <a:sx n="79" d="100"/>
          <a:sy n="79" d="100"/>
        </p:scale>
        <p:origin x="2172" y="114"/>
      </p:cViewPr>
      <p:guideLst>
        <p:guide orient="horz" pos="2909"/>
        <p:guide pos="218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ngyan Shen" userId="b6b35d4b-3027-4b23-9093-2dfce227f79d" providerId="ADAL" clId="{E0820C67-65E0-46FF-8C90-3EE23CD4DF2C}"/>
    <pc:docChg chg="undo redo custSel addSld delSld modSld">
      <pc:chgData name="Longyan Shen" userId="b6b35d4b-3027-4b23-9093-2dfce227f79d" providerId="ADAL" clId="{E0820C67-65E0-46FF-8C90-3EE23CD4DF2C}" dt="2025-05-29T12:50:57.990" v="26" actId="47"/>
      <pc:docMkLst>
        <pc:docMk/>
      </pc:docMkLst>
      <pc:sldChg chg="add del">
        <pc:chgData name="Longyan Shen" userId="b6b35d4b-3027-4b23-9093-2dfce227f79d" providerId="ADAL" clId="{E0820C67-65E0-46FF-8C90-3EE23CD4DF2C}" dt="2025-05-28T19:11:17.872" v="20" actId="47"/>
        <pc:sldMkLst>
          <pc:docMk/>
          <pc:sldMk cId="3336262393" sldId="16113"/>
        </pc:sldMkLst>
      </pc:sldChg>
      <pc:sldChg chg="add del">
        <pc:chgData name="Longyan Shen" userId="b6b35d4b-3027-4b23-9093-2dfce227f79d" providerId="ADAL" clId="{E0820C67-65E0-46FF-8C90-3EE23CD4DF2C}" dt="2025-05-29T12:15:23.654" v="21" actId="47"/>
        <pc:sldMkLst>
          <pc:docMk/>
          <pc:sldMk cId="3991319495" sldId="16130"/>
        </pc:sldMkLst>
      </pc:sldChg>
      <pc:sldChg chg="del">
        <pc:chgData name="Longyan Shen" userId="b6b35d4b-3027-4b23-9093-2dfce227f79d" providerId="ADAL" clId="{E0820C67-65E0-46FF-8C90-3EE23CD4DF2C}" dt="2025-05-29T12:48:32.980" v="22" actId="47"/>
        <pc:sldMkLst>
          <pc:docMk/>
          <pc:sldMk cId="2981937199" sldId="2147469091"/>
        </pc:sldMkLst>
      </pc:sldChg>
      <pc:sldChg chg="del">
        <pc:chgData name="Longyan Shen" userId="b6b35d4b-3027-4b23-9093-2dfce227f79d" providerId="ADAL" clId="{E0820C67-65E0-46FF-8C90-3EE23CD4DF2C}" dt="2025-05-29T12:50:56.915" v="25" actId="47"/>
        <pc:sldMkLst>
          <pc:docMk/>
          <pc:sldMk cId="1502899842" sldId="2147469095"/>
        </pc:sldMkLst>
      </pc:sldChg>
      <pc:sldChg chg="del">
        <pc:chgData name="Longyan Shen" userId="b6b35d4b-3027-4b23-9093-2dfce227f79d" providerId="ADAL" clId="{E0820C67-65E0-46FF-8C90-3EE23CD4DF2C}" dt="2025-05-29T12:50:57.990" v="26" actId="47"/>
        <pc:sldMkLst>
          <pc:docMk/>
          <pc:sldMk cId="371378145" sldId="2147469096"/>
        </pc:sldMkLst>
      </pc:sldChg>
      <pc:sldChg chg="del">
        <pc:chgData name="Longyan Shen" userId="b6b35d4b-3027-4b23-9093-2dfce227f79d" providerId="ADAL" clId="{E0820C67-65E0-46FF-8C90-3EE23CD4DF2C}" dt="2025-05-29T12:50:39.169" v="23" actId="47"/>
        <pc:sldMkLst>
          <pc:docMk/>
          <pc:sldMk cId="3832347300" sldId="2147469098"/>
        </pc:sldMkLst>
      </pc:sldChg>
      <pc:sldChg chg="del">
        <pc:chgData name="Longyan Shen" userId="b6b35d4b-3027-4b23-9093-2dfce227f79d" providerId="ADAL" clId="{E0820C67-65E0-46FF-8C90-3EE23CD4DF2C}" dt="2025-05-29T12:50:46.310" v="24" actId="47"/>
        <pc:sldMkLst>
          <pc:docMk/>
          <pc:sldMk cId="866919885" sldId="2147469105"/>
        </pc:sldMkLst>
      </pc:sldChg>
      <pc:sldChg chg="modSp new del mod">
        <pc:chgData name="Longyan Shen" userId="b6b35d4b-3027-4b23-9093-2dfce227f79d" providerId="ADAL" clId="{E0820C67-65E0-46FF-8C90-3EE23CD4DF2C}" dt="2025-05-28T19:10:11.830" v="15" actId="47"/>
        <pc:sldMkLst>
          <pc:docMk/>
          <pc:sldMk cId="783378863" sldId="2147469108"/>
        </pc:sldMkLst>
        <pc:spChg chg="mod">
          <ac:chgData name="Longyan Shen" userId="b6b35d4b-3027-4b23-9093-2dfce227f79d" providerId="ADAL" clId="{E0820C67-65E0-46FF-8C90-3EE23CD4DF2C}" dt="2025-05-28T18:45:01.991" v="4"/>
          <ac:spMkLst>
            <pc:docMk/>
            <pc:sldMk cId="783378863" sldId="2147469108"/>
            <ac:spMk id="3" creationId="{C090D7BC-112D-18FC-BA30-4B79DAD15E32}"/>
          </ac:spMkLst>
        </pc:spChg>
        <pc:spChg chg="mod">
          <ac:chgData name="Longyan Shen" userId="b6b35d4b-3027-4b23-9093-2dfce227f79d" providerId="ADAL" clId="{E0820C67-65E0-46FF-8C90-3EE23CD4DF2C}" dt="2025-05-28T18:45:20.772" v="5"/>
          <ac:spMkLst>
            <pc:docMk/>
            <pc:sldMk cId="783378863" sldId="2147469108"/>
            <ac:spMk id="5" creationId="{D2C062C5-B537-45ED-D2E4-B71287267D24}"/>
          </ac:spMkLst>
        </pc:spChg>
        <pc:spChg chg="mod">
          <ac:chgData name="Longyan Shen" userId="b6b35d4b-3027-4b23-9093-2dfce227f79d" providerId="ADAL" clId="{E0820C67-65E0-46FF-8C90-3EE23CD4DF2C}" dt="2025-05-28T18:45:59.067" v="8"/>
          <ac:spMkLst>
            <pc:docMk/>
            <pc:sldMk cId="783378863" sldId="2147469108"/>
            <ac:spMk id="6" creationId="{6AF123D2-6DEB-E6B9-BD88-B07ED4C9AD69}"/>
          </ac:spMkLst>
        </pc:spChg>
        <pc:spChg chg="mod">
          <ac:chgData name="Longyan Shen" userId="b6b35d4b-3027-4b23-9093-2dfce227f79d" providerId="ADAL" clId="{E0820C67-65E0-46FF-8C90-3EE23CD4DF2C}" dt="2025-05-28T18:46:50.777" v="9"/>
          <ac:spMkLst>
            <pc:docMk/>
            <pc:sldMk cId="783378863" sldId="2147469108"/>
            <ac:spMk id="8" creationId="{DAD17722-FFE6-C320-D390-F2DE2428B5CB}"/>
          </ac:spMkLst>
        </pc:spChg>
        <pc:spChg chg="mod">
          <ac:chgData name="Longyan Shen" userId="b6b35d4b-3027-4b23-9093-2dfce227f79d" providerId="ADAL" clId="{E0820C67-65E0-46FF-8C90-3EE23CD4DF2C}" dt="2025-05-28T18:44:45.943" v="2"/>
          <ac:spMkLst>
            <pc:docMk/>
            <pc:sldMk cId="783378863" sldId="2147469108"/>
            <ac:spMk id="10" creationId="{31D081A8-0729-7D32-1C96-9ED64868A4D5}"/>
          </ac:spMkLst>
        </pc:spChg>
        <pc:spChg chg="mod">
          <ac:chgData name="Longyan Shen" userId="b6b35d4b-3027-4b23-9093-2dfce227f79d" providerId="ADAL" clId="{E0820C67-65E0-46FF-8C90-3EE23CD4DF2C}" dt="2025-05-28T18:44:50.213" v="3"/>
          <ac:spMkLst>
            <pc:docMk/>
            <pc:sldMk cId="783378863" sldId="2147469108"/>
            <ac:spMk id="11" creationId="{30952BE4-5C96-69EC-2A67-F24CA2BF0FE0}"/>
          </ac:spMkLst>
        </pc:spChg>
      </pc:sldChg>
      <pc:sldChg chg="add">
        <pc:chgData name="Longyan Shen" userId="b6b35d4b-3027-4b23-9093-2dfce227f79d" providerId="ADAL" clId="{E0820C67-65E0-46FF-8C90-3EE23CD4DF2C}" dt="2025-05-28T19:10:45.780" v="17"/>
        <pc:sldMkLst>
          <pc:docMk/>
          <pc:sldMk cId="2045371776" sldId="2147469108"/>
        </pc:sldMkLst>
      </pc:sldChg>
      <pc:sldChg chg="new del">
        <pc:chgData name="Longyan Shen" userId="b6b35d4b-3027-4b23-9093-2dfce227f79d" providerId="ADAL" clId="{E0820C67-65E0-46FF-8C90-3EE23CD4DF2C}" dt="2025-05-28T19:10:13.036" v="16" actId="47"/>
        <pc:sldMkLst>
          <pc:docMk/>
          <pc:sldMk cId="2041085735" sldId="2147469109"/>
        </pc:sldMkLst>
      </pc:sldChg>
      <pc:sldChg chg="new del">
        <pc:chgData name="Longyan Shen" userId="b6b35d4b-3027-4b23-9093-2dfce227f79d" providerId="ADAL" clId="{E0820C67-65E0-46FF-8C90-3EE23CD4DF2C}" dt="2025-05-28T19:01:09.189" v="14" actId="47"/>
        <pc:sldMkLst>
          <pc:docMk/>
          <pc:sldMk cId="2757136363" sldId="2147469110"/>
        </pc:sldMkLst>
      </pc:sldChg>
      <pc:sldMasterChg chg="delSldLayout">
        <pc:chgData name="Longyan Shen" userId="b6b35d4b-3027-4b23-9093-2dfce227f79d" providerId="ADAL" clId="{E0820C67-65E0-46FF-8C90-3EE23CD4DF2C}" dt="2025-05-29T12:15:23.654" v="21" actId="47"/>
        <pc:sldMasterMkLst>
          <pc:docMk/>
          <pc:sldMasterMk cId="3990626545" sldId="2147484074"/>
        </pc:sldMasterMkLst>
        <pc:sldLayoutChg chg="del">
          <pc:chgData name="Longyan Shen" userId="b6b35d4b-3027-4b23-9093-2dfce227f79d" providerId="ADAL" clId="{E0820C67-65E0-46FF-8C90-3EE23CD4DF2C}" dt="2025-05-29T12:15:23.654" v="21" actId="47"/>
          <pc:sldLayoutMkLst>
            <pc:docMk/>
            <pc:sldMasterMk cId="3990626545" sldId="2147484074"/>
            <pc:sldLayoutMk cId="1095827817" sldId="2147484246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sites.ey.com/sites/Marketing294/Shared%20Documents/Estudios/Presentaciones%20corporativas/Presentaci&#243;n%20Longyan_BarClustered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sites.ey.com/sites/Marketing294/Shared%20Documents/Estudios/Presentaciones%20corporativas/Presentaci&#243;n%20Longyan_BarClustered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sites.ey.com/sites/Marketing294/Shared%20Documents/Estudios/Presentaciones%20corporativas/Presentaci&#243;n%20Longyan_BarClustered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r>
              <a:rPr lang="en-US" sz="1440" b="0" i="0" u="none" strike="noStrike" kern="1200" spc="0" baseline="0">
                <a:solidFill>
                  <a:prstClr val="white"/>
                </a:solidFill>
                <a:latin typeface="EYInterstate Light" panose="02000506000000020004" pitchFamily="2" charset="0"/>
              </a:rPr>
              <a:t>Chinese FDI flow in LAC</a:t>
            </a:r>
            <a:r>
              <a:rPr lang="en-US" sz="1440" b="0" i="0" u="none" strike="noStrike" baseline="0"/>
              <a:t> (2018-2023)</a:t>
            </a:r>
            <a:endParaRPr lang="es-CL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bg1"/>
              </a:solidFill>
              <a:latin typeface="EYInterstate Light" panose="02000506000000020004" pitchFamily="2" charset="0"/>
              <a:ea typeface="+mn-ea"/>
              <a:cs typeface="+mn-cs"/>
            </a:defRPr>
          </a:pPr>
          <a:endParaRPr lang="es-CL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hinese OFDI (millions of dollars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832-442A-91FD-4C9DE52590D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2832-442A-91FD-4C9DE52590D3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832-442A-91FD-4C9DE52590D3}"/>
              </c:ext>
            </c:extLst>
          </c:dPt>
          <c:dPt>
            <c:idx val="3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2832-442A-91FD-4C9DE52590D3}"/>
              </c:ext>
            </c:extLst>
          </c:dPt>
          <c:dPt>
            <c:idx val="4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832-442A-91FD-4C9DE52590D3}"/>
              </c:ext>
            </c:extLst>
          </c:dPt>
          <c:dPt>
            <c:idx val="5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832-442A-91FD-4C9DE52590D3}"/>
              </c:ext>
            </c:extLst>
          </c:dPt>
          <c:dPt>
            <c:idx val="6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FA6F-4C63-9011-04618063978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EYInterstate Light" panose="0200050600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p</c:v>
                </c:pt>
              </c:strCache>
            </c:strRef>
          </c:cat>
          <c:val>
            <c:numRef>
              <c:f>Sheet1!$D$2:$D$8</c:f>
              <c:numCache>
                <c:formatCode>#,##0</c:formatCode>
                <c:ptCount val="7"/>
                <c:pt idx="0">
                  <c:v>13420</c:v>
                </c:pt>
                <c:pt idx="1">
                  <c:v>19231</c:v>
                </c:pt>
                <c:pt idx="2">
                  <c:v>9277</c:v>
                </c:pt>
                <c:pt idx="3">
                  <c:v>12704</c:v>
                </c:pt>
                <c:pt idx="4">
                  <c:v>15441</c:v>
                </c:pt>
                <c:pt idx="5">
                  <c:v>9672</c:v>
                </c:pt>
                <c:pt idx="6">
                  <c:v>85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31-46E0-B784-587E72CD051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154688112"/>
        <c:axId val="115468907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hinese  OFDI in LAC/ Total  FDI in LAC (%)</c:v>
                </c:pt>
              </c:strCache>
            </c:strRef>
          </c:tx>
          <c:spPr>
            <a:ln w="28575" cap="rnd">
              <a:solidFill>
                <a:srgbClr val="FFE600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8575" cap="rnd">
                <a:solidFill>
                  <a:srgbClr val="FFE6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0-C373-41A1-804F-70675FE6BDEA}"/>
              </c:ext>
            </c:extLst>
          </c:dPt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rgbClr val="FFE6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C373-41A1-804F-70675FE6BDEA}"/>
              </c:ext>
            </c:extLst>
          </c:dPt>
          <c:dLbls>
            <c:dLbl>
              <c:idx val="4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EYInterstate Light" panose="02000506000000020004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832-442A-91FD-4C9DE52590D3}"/>
                </c:ext>
              </c:extLst>
            </c:dLbl>
            <c:dLbl>
              <c:idx val="5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EYInterstate Light" panose="02000506000000020004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832-442A-91FD-4C9DE52590D3}"/>
                </c:ext>
              </c:extLst>
            </c:dLbl>
            <c:dLbl>
              <c:idx val="6"/>
              <c:layout>
                <c:manualLayout>
                  <c:x val="-3.0112999698240179E-2"/>
                  <c:y val="5.29313664989020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852-4CE6-8683-C767F49B7CF8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EYInterstate Light" panose="0200050600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p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8.69</c:v>
                </c:pt>
                <c:pt idx="1">
                  <c:v>12.16</c:v>
                </c:pt>
                <c:pt idx="2">
                  <c:v>10.32</c:v>
                </c:pt>
                <c:pt idx="3">
                  <c:v>9.2100000000000009</c:v>
                </c:pt>
                <c:pt idx="4">
                  <c:v>7.88</c:v>
                </c:pt>
                <c:pt idx="5">
                  <c:v>5.01</c:v>
                </c:pt>
                <c:pt idx="6">
                  <c:v>4.84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A31-46E0-B784-587E72CD051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0303871"/>
        <c:axId val="200301711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FDI / Regional GDP (percentage)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/>
                    </a:solidFill>
                    <a:ln w="9525">
                      <a:solidFill>
                        <a:schemeClr val="accent1"/>
                      </a:solidFill>
                    </a:ln>
                    <a:effectLst/>
                  </c:spPr>
                </c:marker>
                <c:dLbls>
                  <c:numFmt formatCode="#,##0.0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bg1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8</c15:sqref>
                        </c15:formulaRef>
                      </c:ext>
                    </c:extLst>
                    <c:strCache>
                      <c:ptCount val="7"/>
                      <c:pt idx="0">
                        <c:v>2018</c:v>
                      </c:pt>
                      <c:pt idx="1">
                        <c:v>2019</c:v>
                      </c:pt>
                      <c:pt idx="2">
                        <c:v>2020</c:v>
                      </c:pt>
                      <c:pt idx="3">
                        <c:v>2021</c:v>
                      </c:pt>
                      <c:pt idx="4">
                        <c:v>2022</c:v>
                      </c:pt>
                      <c:pt idx="5">
                        <c:v>2023</c:v>
                      </c:pt>
                      <c:pt idx="6">
                        <c:v>2024p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2:$B$8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.82</c:v>
                      </c:pt>
                      <c:pt idx="1">
                        <c:v>3.02</c:v>
                      </c:pt>
                      <c:pt idx="2">
                        <c:v>1.98</c:v>
                      </c:pt>
                      <c:pt idx="3">
                        <c:v>2.69</c:v>
                      </c:pt>
                      <c:pt idx="4">
                        <c:v>3.36</c:v>
                      </c:pt>
                      <c:pt idx="5">
                        <c:v>2.96</c:v>
                      </c:pt>
                      <c:pt idx="6">
                        <c:v>2.75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4A31-46E0-B784-587E72CD051F}"/>
                  </c:ext>
                </c:extLst>
              </c15:ser>
            </c15:filteredLineSeries>
          </c:ext>
        </c:extLst>
      </c:lineChart>
      <c:catAx>
        <c:axId val="1154688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endParaRPr lang="en-US"/>
          </a:p>
        </c:txPr>
        <c:crossAx val="1154689072"/>
        <c:crosses val="autoZero"/>
        <c:auto val="1"/>
        <c:lblAlgn val="ctr"/>
        <c:lblOffset val="100"/>
        <c:noMultiLvlLbl val="0"/>
      </c:catAx>
      <c:valAx>
        <c:axId val="115468907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1A1A24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endParaRPr lang="en-US"/>
          </a:p>
        </c:txPr>
        <c:crossAx val="1154688112"/>
        <c:crosses val="autoZero"/>
        <c:crossBetween val="between"/>
      </c:valAx>
      <c:valAx>
        <c:axId val="200301711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1A1A24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endParaRPr lang="en-US"/>
          </a:p>
        </c:txPr>
        <c:crossAx val="200303871"/>
        <c:crosses val="max"/>
        <c:crossBetween val="between"/>
      </c:valAx>
      <c:catAx>
        <c:axId val="20030387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030171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/>
              </a:solidFill>
              <a:latin typeface="EYInterstate Light" panose="02000506000000020004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bg1"/>
          </a:solidFill>
          <a:latin typeface="EYInterstate Light" panose="02000506000000020004" pitchFamily="2" charset="0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llones de US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20</c:v>
                </c:pt>
                <c:pt idx="5">
                  <c:v>2024</c:v>
                </c:pt>
              </c:numCache>
            </c:numRef>
          </c:cat>
          <c:val>
            <c:numRef>
              <c:f>Sheet1!$B$2:$B$7</c:f>
              <c:numCache>
                <c:formatCode>#,##0</c:formatCode>
                <c:ptCount val="6"/>
                <c:pt idx="0">
                  <c:v>949.49827000000005</c:v>
                </c:pt>
                <c:pt idx="1">
                  <c:v>3158.460341</c:v>
                </c:pt>
                <c:pt idx="2">
                  <c:v>9938.1475429999991</c:v>
                </c:pt>
                <c:pt idx="3">
                  <c:v>14678.968025</c:v>
                </c:pt>
                <c:pt idx="4">
                  <c:v>16430.654716000001</c:v>
                </c:pt>
                <c:pt idx="5">
                  <c:v>19325.24468957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B-4DD4-AA9A-86316231AC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989749231"/>
        <c:axId val="1989758831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% del total de importacion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20</c:v>
                </c:pt>
                <c:pt idx="5">
                  <c:v>2024</c:v>
                </c:pt>
              </c:numCache>
            </c:numRef>
          </c:cat>
          <c:val>
            <c:numRef>
              <c:f>Sheet1!$C$2:$C$7</c:f>
              <c:numCache>
                <c:formatCode>0%</c:formatCode>
                <c:ptCount val="6"/>
                <c:pt idx="0">
                  <c:v>5.7130801719757617E-2</c:v>
                </c:pt>
                <c:pt idx="1">
                  <c:v>9.6158920111985347E-2</c:v>
                </c:pt>
                <c:pt idx="2">
                  <c:v>0.16882858652699312</c:v>
                </c:pt>
                <c:pt idx="3">
                  <c:v>0.23554618283104209</c:v>
                </c:pt>
                <c:pt idx="4">
                  <c:v>0.27754129849509773</c:v>
                </c:pt>
                <c:pt idx="5">
                  <c:v>0.24305763361805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4B-4DD4-AA9A-86316231AC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21717088"/>
        <c:axId val="1521732448"/>
      </c:lineChart>
      <c:catAx>
        <c:axId val="19897492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9758831"/>
        <c:crosses val="autoZero"/>
        <c:auto val="1"/>
        <c:lblAlgn val="ctr"/>
        <c:lblOffset val="100"/>
        <c:noMultiLvlLbl val="0"/>
      </c:catAx>
      <c:valAx>
        <c:axId val="1989758831"/>
        <c:scaling>
          <c:orientation val="minMax"/>
          <c:max val="3000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9749231"/>
        <c:crosses val="autoZero"/>
        <c:crossBetween val="between"/>
      </c:valAx>
      <c:valAx>
        <c:axId val="152173244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1717088"/>
        <c:crosses val="max"/>
        <c:crossBetween val="between"/>
      </c:valAx>
      <c:catAx>
        <c:axId val="1521717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2173244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r>
              <a:rPr lang="en-US" sz="1440" b="0" i="0" u="none" strike="noStrike" baseline="0"/>
              <a:t>Chinese FDI flow </a:t>
            </a:r>
            <a:r>
              <a:rPr lang="en-US" sz="1440" b="0" i="0" u="none" strike="noStrike" kern="1200" spc="0" baseline="0">
                <a:solidFill>
                  <a:prstClr val="white"/>
                </a:solidFill>
                <a:latin typeface="EYInterstate Light" panose="02000506000000020004" pitchFamily="2" charset="0"/>
              </a:rPr>
              <a:t>in LAC </a:t>
            </a:r>
            <a:r>
              <a:rPr lang="en-US" sz="1440" b="0" i="0" u="none" strike="noStrike" baseline="0"/>
              <a:t>(2000-2023)</a:t>
            </a:r>
            <a:endParaRPr lang="es-CL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bg1"/>
              </a:solidFill>
              <a:latin typeface="EYInterstate Light" panose="02000506000000020004" pitchFamily="2" charset="0"/>
              <a:ea typeface="+mn-ea"/>
              <a:cs typeface="+mn-cs"/>
            </a:defRPr>
          </a:pPr>
          <a:endParaRPr lang="es-CL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Chinese OFDI in LAC (millions of dollars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552-4F0A-AD10-AAA8F2E5F2B7}"/>
              </c:ext>
            </c:extLst>
          </c:dPt>
          <c:dPt>
            <c:idx val="4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E552-4F0A-AD10-AAA8F2E5F2B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EYInterstate Light" panose="0200050600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00-2004</c:v>
                </c:pt>
                <c:pt idx="1">
                  <c:v>2005-2009</c:v>
                </c:pt>
                <c:pt idx="2">
                  <c:v>2010-2014</c:v>
                </c:pt>
                <c:pt idx="3">
                  <c:v>2015-2019</c:v>
                </c:pt>
                <c:pt idx="4">
                  <c:v>2020-2024</c:v>
                </c:pt>
              </c:strCache>
            </c:strRef>
          </c:cat>
          <c:val>
            <c:numRef>
              <c:f>Sheet1!$D$2:$D$6</c:f>
              <c:numCache>
                <c:formatCode>#,##0</c:formatCode>
                <c:ptCount val="5"/>
                <c:pt idx="0">
                  <c:v>2639</c:v>
                </c:pt>
                <c:pt idx="1">
                  <c:v>16447</c:v>
                </c:pt>
                <c:pt idx="2">
                  <c:v>59285</c:v>
                </c:pt>
                <c:pt idx="3">
                  <c:v>68645</c:v>
                </c:pt>
                <c:pt idx="4">
                  <c:v>55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D20-4484-82CB-ED919524081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154688112"/>
        <c:axId val="115468907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hinese  OFDI in LAC/ Total  FDI in LAC (%)</c:v>
                </c:pt>
              </c:strCache>
            </c:strRef>
          </c:tx>
          <c:spPr>
            <a:ln w="28575" cap="rnd">
              <a:solidFill>
                <a:srgbClr val="FFFF00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8575" cap="rnd">
                <a:solidFill>
                  <a:srgbClr val="FFFF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AD6D-493E-BF62-5DE69718365F}"/>
              </c:ext>
            </c:extLst>
          </c:dPt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rgbClr val="FFFF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AD6D-493E-BF62-5DE69718365F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rgbClr val="FFFF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AD6D-493E-BF62-5DE69718365F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28575" cap="rnd">
                <a:solidFill>
                  <a:srgbClr val="FFFF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0-AD6D-493E-BF62-5DE69718365F}"/>
              </c:ext>
            </c:extLst>
          </c:dPt>
          <c:dLbls>
            <c:dLbl>
              <c:idx val="0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EYInterstate Light" panose="02000506000000020004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7873421295055336E-2"/>
                      <c:h val="8.527254391099660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AD6D-493E-BF62-5DE69718365F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EYInterstate Light" panose="0200050600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00-2004</c:v>
                </c:pt>
                <c:pt idx="1">
                  <c:v>2005-2009</c:v>
                </c:pt>
                <c:pt idx="2">
                  <c:v>2010-2014</c:v>
                </c:pt>
                <c:pt idx="3">
                  <c:v>2015-2019</c:v>
                </c:pt>
                <c:pt idx="4">
                  <c:v>2020-202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0.82</c:v>
                </c:pt>
                <c:pt idx="1">
                  <c:v>3.34</c:v>
                </c:pt>
                <c:pt idx="2">
                  <c:v>6.48</c:v>
                </c:pt>
                <c:pt idx="3">
                  <c:v>6.95</c:v>
                </c:pt>
                <c:pt idx="4">
                  <c:v>10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D20-4484-82CB-ED919524081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1533591"/>
        <c:axId val="201540071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FDI / Regional GDP (percentage)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/>
                    </a:solidFill>
                    <a:ln w="9525">
                      <a:solidFill>
                        <a:schemeClr val="accent1"/>
                      </a:solidFill>
                    </a:ln>
                    <a:effectLst/>
                  </c:spPr>
                </c:marker>
                <c:dLbls>
                  <c:numFmt formatCode="#,##0.0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chemeClr val="bg1"/>
                          </a:solidFill>
                          <a:latin typeface="EYInterstate Light" panose="02000506000000020004" pitchFamily="2" charset="0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6</c15:sqref>
                        </c15:formulaRef>
                      </c:ext>
                    </c:extLst>
                    <c:strCache>
                      <c:ptCount val="5"/>
                      <c:pt idx="0">
                        <c:v>2000-2004</c:v>
                      </c:pt>
                      <c:pt idx="1">
                        <c:v>2005-2009</c:v>
                      </c:pt>
                      <c:pt idx="2">
                        <c:v>2010-2014</c:v>
                      </c:pt>
                      <c:pt idx="3">
                        <c:v>2015-2019</c:v>
                      </c:pt>
                      <c:pt idx="4">
                        <c:v>2020-2024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2:$B$6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2.97</c:v>
                      </c:pt>
                      <c:pt idx="1">
                        <c:v>2.61</c:v>
                      </c:pt>
                      <c:pt idx="2">
                        <c:v>3.04</c:v>
                      </c:pt>
                      <c:pt idx="3">
                        <c:v>3.6</c:v>
                      </c:pt>
                      <c:pt idx="4">
                        <c:v>2.81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6D20-4484-82CB-ED9195240819}"/>
                  </c:ext>
                </c:extLst>
              </c15:ser>
            </c15:filteredLineSeries>
          </c:ext>
        </c:extLst>
      </c:lineChart>
      <c:catAx>
        <c:axId val="1154688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endParaRPr lang="en-US"/>
          </a:p>
        </c:txPr>
        <c:crossAx val="1154689072"/>
        <c:crosses val="autoZero"/>
        <c:auto val="1"/>
        <c:lblAlgn val="ctr"/>
        <c:lblOffset val="100"/>
        <c:noMultiLvlLbl val="0"/>
      </c:catAx>
      <c:valAx>
        <c:axId val="115468907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1A1A24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endParaRPr lang="en-US"/>
          </a:p>
        </c:txPr>
        <c:crossAx val="1154688112"/>
        <c:crosses val="autoZero"/>
        <c:crossBetween val="between"/>
      </c:valAx>
      <c:valAx>
        <c:axId val="201540071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1A1A24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endParaRPr lang="en-US"/>
          </a:p>
        </c:txPr>
        <c:crossAx val="201533591"/>
        <c:crosses val="max"/>
        <c:crossBetween val="between"/>
      </c:valAx>
      <c:catAx>
        <c:axId val="20153359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5400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/>
              </a:solidFill>
              <a:latin typeface="EYInterstate Light" panose="02000506000000020004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bg1"/>
          </a:solidFill>
          <a:latin typeface="EYInterstate Light" panose="02000506000000020004" pitchFamily="2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r>
              <a:rPr lang="en-US" sz="1600" b="0" i="0" u="none" strike="noStrike" baseline="0" dirty="0"/>
              <a:t>Chinese FDI in LAC by sector destination* % of total  (2000-2024)</a:t>
            </a:r>
            <a:endParaRPr lang="es-CL" sz="16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bg1"/>
              </a:solidFill>
              <a:latin typeface="EYInterstate Light" panose="02000506000000020004" pitchFamily="2" charset="0"/>
              <a:ea typeface="+mn-ea"/>
              <a:cs typeface="+mn-cs"/>
            </a:defRPr>
          </a:pPr>
          <a:endParaRPr lang="es-CL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nerg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EYInterstate Light" panose="0200050600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2000-2004</c:v>
                </c:pt>
                <c:pt idx="1">
                  <c:v>2005-2009</c:v>
                </c:pt>
                <c:pt idx="2">
                  <c:v>2010-2014</c:v>
                </c:pt>
                <c:pt idx="3">
                  <c:v>2015-2019</c:v>
                </c:pt>
                <c:pt idx="4">
                  <c:v>2020-2024</c:v>
                </c:pt>
              </c:strCache>
            </c:strRef>
          </c:cat>
          <c:val>
            <c:numRef>
              <c:f>Sheet1!$B$2:$F$2</c:f>
              <c:numCache>
                <c:formatCode>0</c:formatCode>
                <c:ptCount val="5"/>
                <c:pt idx="0" formatCode="General">
                  <c:v>0</c:v>
                </c:pt>
                <c:pt idx="1">
                  <c:v>10.33</c:v>
                </c:pt>
                <c:pt idx="2">
                  <c:v>32.54</c:v>
                </c:pt>
                <c:pt idx="3">
                  <c:v>39.26</c:v>
                </c:pt>
                <c:pt idx="4" formatCode="#,##0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F6-4BFF-8378-BB675ADE4BF4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Metals, Minerals, and Min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EYInterstate Light" panose="0200050600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2000-2004</c:v>
                </c:pt>
                <c:pt idx="1">
                  <c:v>2005-2009</c:v>
                </c:pt>
                <c:pt idx="2">
                  <c:v>2010-2014</c:v>
                </c:pt>
                <c:pt idx="3">
                  <c:v>2015-2019</c:v>
                </c:pt>
                <c:pt idx="4">
                  <c:v>2020-2024</c:v>
                </c:pt>
              </c:strCache>
            </c:strRef>
          </c:cat>
          <c:val>
            <c:numRef>
              <c:f>Sheet1!$B$3:$F$3</c:f>
              <c:numCache>
                <c:formatCode>0</c:formatCode>
                <c:ptCount val="5"/>
                <c:pt idx="0" formatCode="#,##0">
                  <c:v>67.290000000000006</c:v>
                </c:pt>
                <c:pt idx="1">
                  <c:v>81.41</c:v>
                </c:pt>
                <c:pt idx="2">
                  <c:v>35.04</c:v>
                </c:pt>
                <c:pt idx="3">
                  <c:v>20.67</c:v>
                </c:pt>
                <c:pt idx="4" formatCode="#,##0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F6-4BFF-8378-BB675ADE4BF4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Automotive and Auto Part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6.2424606979527837E-17"/>
                  <c:y val="2.10288357910785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4E5-4A43-AB02-7DCE4241B28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EYInterstate Light" panose="0200050600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2000-2004</c:v>
                </c:pt>
                <c:pt idx="1">
                  <c:v>2005-2009</c:v>
                </c:pt>
                <c:pt idx="2">
                  <c:v>2010-2014</c:v>
                </c:pt>
                <c:pt idx="3">
                  <c:v>2015-2019</c:v>
                </c:pt>
                <c:pt idx="4">
                  <c:v>2020-2024</c:v>
                </c:pt>
              </c:strCache>
            </c:strRef>
          </c:cat>
          <c:val>
            <c:numRef>
              <c:f>Sheet1!$B$4:$F$4</c:f>
              <c:numCache>
                <c:formatCode>0</c:formatCode>
                <c:ptCount val="5"/>
                <c:pt idx="0" formatCode="#,##0">
                  <c:v>0</c:v>
                </c:pt>
                <c:pt idx="1">
                  <c:v>1.56</c:v>
                </c:pt>
                <c:pt idx="2">
                  <c:v>2.0499999999999998</c:v>
                </c:pt>
                <c:pt idx="3">
                  <c:v>8.0299999999999994</c:v>
                </c:pt>
                <c:pt idx="4" formatCode="#,##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F6-4BFF-8378-BB675ADE4BF4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Electronic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-1.57716268433089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4E5-4A43-AB02-7DCE4241B28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thaiDist">
                  <a:defRPr sz="1200" b="0" i="0" u="none" strike="noStrike" kern="1200" baseline="0">
                    <a:solidFill>
                      <a:schemeClr val="bg1"/>
                    </a:solidFill>
                    <a:latin typeface="EYInterstate Light" panose="0200050600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2000-2004</c:v>
                </c:pt>
                <c:pt idx="1">
                  <c:v>2005-2009</c:v>
                </c:pt>
                <c:pt idx="2">
                  <c:v>2010-2014</c:v>
                </c:pt>
                <c:pt idx="3">
                  <c:v>2015-2019</c:v>
                </c:pt>
                <c:pt idx="4">
                  <c:v>2020-2024</c:v>
                </c:pt>
              </c:strCache>
            </c:strRef>
          </c:cat>
          <c:val>
            <c:numRef>
              <c:f>Sheet1!$B$5:$F$5</c:f>
              <c:numCache>
                <c:formatCode>0</c:formatCode>
                <c:ptCount val="5"/>
                <c:pt idx="0" formatCode="General">
                  <c:v>0</c:v>
                </c:pt>
                <c:pt idx="1">
                  <c:v>1.17</c:v>
                </c:pt>
                <c:pt idx="2">
                  <c:v>3.92</c:v>
                </c:pt>
                <c:pt idx="3">
                  <c:v>10.3</c:v>
                </c:pt>
                <c:pt idx="4" formatCode="#,##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F6-4BFF-8378-BB675ADE4BF4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Financial Sector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EYInterstate Light" panose="0200050600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2000-2004</c:v>
                </c:pt>
                <c:pt idx="1">
                  <c:v>2005-2009</c:v>
                </c:pt>
                <c:pt idx="2">
                  <c:v>2010-2014</c:v>
                </c:pt>
                <c:pt idx="3">
                  <c:v>2015-2019</c:v>
                </c:pt>
                <c:pt idx="4">
                  <c:v>2020-2024</c:v>
                </c:pt>
              </c:strCache>
            </c:strRef>
          </c:cat>
          <c:val>
            <c:numRef>
              <c:f>Sheet1!$B$6:$F$6</c:f>
              <c:numCache>
                <c:formatCode>#,##0</c:formatCode>
                <c:ptCount val="5"/>
                <c:pt idx="0" formatCode="General">
                  <c:v>0</c:v>
                </c:pt>
                <c:pt idx="1">
                  <c:v>0.72</c:v>
                </c:pt>
                <c:pt idx="2">
                  <c:v>4.87</c:v>
                </c:pt>
                <c:pt idx="3">
                  <c:v>3.3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F6-4BFF-8378-BB675ADE4BF4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EYInterstate Light" panose="0200050600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2000-2004</c:v>
                </c:pt>
                <c:pt idx="1">
                  <c:v>2005-2009</c:v>
                </c:pt>
                <c:pt idx="2">
                  <c:v>2010-2014</c:v>
                </c:pt>
                <c:pt idx="3">
                  <c:v>2015-2019</c:v>
                </c:pt>
                <c:pt idx="4">
                  <c:v>2020-2024</c:v>
                </c:pt>
              </c:strCache>
            </c:strRef>
          </c:cat>
          <c:val>
            <c:numRef>
              <c:f>Sheet1!$B$7:$F$7</c:f>
              <c:numCache>
                <c:formatCode>0</c:formatCode>
                <c:ptCount val="5"/>
                <c:pt idx="0">
                  <c:v>32.709999999999994</c:v>
                </c:pt>
                <c:pt idx="1">
                  <c:v>4.8100000000000023</c:v>
                </c:pt>
                <c:pt idx="2">
                  <c:v>21.58</c:v>
                </c:pt>
                <c:pt idx="3">
                  <c:v>18.440000000000012</c:v>
                </c:pt>
                <c:pt idx="4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F6-4BFF-8378-BB675ADE4B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485756192"/>
        <c:axId val="1485774912"/>
        <c:extLst/>
      </c:barChart>
      <c:catAx>
        <c:axId val="1485756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endParaRPr lang="en-US"/>
          </a:p>
        </c:txPr>
        <c:crossAx val="1485774912"/>
        <c:crosses val="autoZero"/>
        <c:auto val="1"/>
        <c:lblAlgn val="ctr"/>
        <c:lblOffset val="100"/>
        <c:noMultiLvlLbl val="0"/>
      </c:catAx>
      <c:valAx>
        <c:axId val="1485774912"/>
        <c:scaling>
          <c:orientation val="minMax"/>
          <c:max val="1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endParaRPr lang="en-US"/>
          </a:p>
        </c:txPr>
        <c:crossAx val="14857561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/>
              </a:solidFill>
              <a:latin typeface="EYInterstate Light" panose="02000506000000020004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bg1"/>
          </a:solidFill>
          <a:latin typeface="EYInterstate Light" panose="02000506000000020004" pitchFamily="2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r>
              <a:rPr lang="en-US" sz="1440" b="0" i="0" u="none" strike="noStrike" baseline="0" dirty="0"/>
              <a:t>Chinese FDI in LAC by country % of total </a:t>
            </a:r>
            <a:endParaRPr lang="es-CL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bg1"/>
              </a:solidFill>
              <a:latin typeface="EYInterstate Light" panose="02000506000000020004" pitchFamily="2" charset="0"/>
              <a:ea typeface="+mn-ea"/>
              <a:cs typeface="+mn-cs"/>
            </a:defRPr>
          </a:pPr>
          <a:endParaRPr lang="es-CL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0-2014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Argentina</c:v>
                </c:pt>
                <c:pt idx="1">
                  <c:v>Brazil</c:v>
                </c:pt>
                <c:pt idx="2">
                  <c:v>Chile</c:v>
                </c:pt>
                <c:pt idx="3">
                  <c:v>Colombia</c:v>
                </c:pt>
                <c:pt idx="4">
                  <c:v>Mexico</c:v>
                </c:pt>
                <c:pt idx="5">
                  <c:v>Peru</c:v>
                </c:pt>
                <c:pt idx="6">
                  <c:v>Caribbean</c:v>
                </c:pt>
              </c:strCache>
            </c:strRef>
          </c:cat>
          <c:val>
            <c:numRef>
              <c:f>Sheet1!$B$2:$B$8</c:f>
              <c:numCache>
                <c:formatCode>#,##0</c:formatCode>
                <c:ptCount val="7"/>
                <c:pt idx="0">
                  <c:v>17.57</c:v>
                </c:pt>
                <c:pt idx="1">
                  <c:v>4.53</c:v>
                </c:pt>
                <c:pt idx="2">
                  <c:v>1.07</c:v>
                </c:pt>
                <c:pt idx="3">
                  <c:v>2.44</c:v>
                </c:pt>
                <c:pt idx="4">
                  <c:v>2.62</c:v>
                </c:pt>
                <c:pt idx="5">
                  <c:v>18.690000000000001</c:v>
                </c:pt>
                <c:pt idx="6">
                  <c:v>7.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C3-4349-AF9C-D182F6CDCEF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5-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Argentina</c:v>
                </c:pt>
                <c:pt idx="1">
                  <c:v>Brazil</c:v>
                </c:pt>
                <c:pt idx="2">
                  <c:v>Chile</c:v>
                </c:pt>
                <c:pt idx="3">
                  <c:v>Colombia</c:v>
                </c:pt>
                <c:pt idx="4">
                  <c:v>Mexico</c:v>
                </c:pt>
                <c:pt idx="5">
                  <c:v>Peru</c:v>
                </c:pt>
                <c:pt idx="6">
                  <c:v>Caribbean</c:v>
                </c:pt>
              </c:strCache>
            </c:strRef>
          </c:cat>
          <c:val>
            <c:numRef>
              <c:f>Sheet1!$C$2:$C$8</c:f>
              <c:numCache>
                <c:formatCode>#,##0</c:formatCode>
                <c:ptCount val="7"/>
                <c:pt idx="0" formatCode="General">
                  <c:v>4.4000000000000004</c:v>
                </c:pt>
                <c:pt idx="1">
                  <c:v>31.73</c:v>
                </c:pt>
                <c:pt idx="2">
                  <c:v>19.05</c:v>
                </c:pt>
                <c:pt idx="3">
                  <c:v>2.27</c:v>
                </c:pt>
                <c:pt idx="4">
                  <c:v>18.59</c:v>
                </c:pt>
                <c:pt idx="5">
                  <c:v>15.4</c:v>
                </c:pt>
                <c:pt idx="6">
                  <c:v>2.3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5C3-4349-AF9C-D182F6CDCEF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0-202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Argentina</c:v>
                </c:pt>
                <c:pt idx="1">
                  <c:v>Brazil</c:v>
                </c:pt>
                <c:pt idx="2">
                  <c:v>Chile</c:v>
                </c:pt>
                <c:pt idx="3">
                  <c:v>Colombia</c:v>
                </c:pt>
                <c:pt idx="4">
                  <c:v>Mexico</c:v>
                </c:pt>
                <c:pt idx="5">
                  <c:v>Peru</c:v>
                </c:pt>
                <c:pt idx="6">
                  <c:v>Caribbean</c:v>
                </c:pt>
              </c:strCache>
            </c:strRef>
          </c:cat>
          <c:val>
            <c:numRef>
              <c:f>Sheet1!$D$2:$D$8</c:f>
              <c:numCache>
                <c:formatCode>#,##0</c:formatCode>
                <c:ptCount val="7"/>
                <c:pt idx="0" formatCode="General">
                  <c:v>19.760000000000002</c:v>
                </c:pt>
                <c:pt idx="1">
                  <c:v>30.5</c:v>
                </c:pt>
                <c:pt idx="2">
                  <c:v>7.1</c:v>
                </c:pt>
                <c:pt idx="3">
                  <c:v>2.02</c:v>
                </c:pt>
                <c:pt idx="4">
                  <c:v>16.62</c:v>
                </c:pt>
                <c:pt idx="5">
                  <c:v>17.47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5C3-4349-AF9C-D182F6CDCE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85756192"/>
        <c:axId val="1485774912"/>
      </c:barChart>
      <c:catAx>
        <c:axId val="1485756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endParaRPr lang="en-US"/>
          </a:p>
        </c:txPr>
        <c:crossAx val="1485774912"/>
        <c:crosses val="autoZero"/>
        <c:auto val="1"/>
        <c:lblAlgn val="ctr"/>
        <c:lblOffset val="100"/>
        <c:noMultiLvlLbl val="0"/>
      </c:catAx>
      <c:valAx>
        <c:axId val="1485774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endParaRPr lang="en-US"/>
          </a:p>
        </c:txPr>
        <c:crossAx val="14857561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/>
              </a:solidFill>
              <a:latin typeface="EYInterstate Light" panose="02000506000000020004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bg1"/>
          </a:solidFill>
          <a:latin typeface="EYInterstate Light" panose="02000506000000020004" pitchFamily="2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r>
              <a:rPr lang="es-CL" sz="1600"/>
              <a:t> </a:t>
            </a:r>
            <a:r>
              <a:rPr lang="es-CL" sz="1600" err="1"/>
              <a:t>Selected</a:t>
            </a:r>
            <a:r>
              <a:rPr lang="es-CL" sz="1600"/>
              <a:t> LAC </a:t>
            </a:r>
            <a:r>
              <a:rPr lang="es-CL" sz="1600" err="1"/>
              <a:t>countries</a:t>
            </a:r>
            <a:r>
              <a:rPr lang="es-CL" sz="1600"/>
              <a:t>*-China </a:t>
            </a:r>
            <a:r>
              <a:rPr lang="es-CL" sz="1600" err="1"/>
              <a:t>trade</a:t>
            </a:r>
            <a:r>
              <a:rPr lang="es-CL" sz="1600" baseline="0"/>
              <a:t> </a:t>
            </a:r>
            <a:r>
              <a:rPr lang="es-CL" sz="1600" baseline="0" err="1"/>
              <a:t>from</a:t>
            </a:r>
            <a:r>
              <a:rPr lang="es-CL" sz="1600" baseline="0"/>
              <a:t> 2015 </a:t>
            </a:r>
            <a:r>
              <a:rPr lang="es-CL" sz="1600" baseline="0" err="1"/>
              <a:t>to</a:t>
            </a:r>
            <a:r>
              <a:rPr lang="es-CL" sz="1600" baseline="0"/>
              <a:t> 2023 in USD </a:t>
            </a:r>
            <a:r>
              <a:rPr lang="es-CL" sz="1600" baseline="0" err="1"/>
              <a:t>bn</a:t>
            </a:r>
            <a:endParaRPr lang="es-CL" sz="16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bg1"/>
              </a:solidFill>
              <a:latin typeface="EYInterstate Light" panose="02000506000000020004" pitchFamily="2" charset="0"/>
              <a:ea typeface="+mn-ea"/>
              <a:cs typeface="+mn-cs"/>
            </a:defRPr>
          </a:pPr>
          <a:endParaRPr lang="es-CL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ports (LAC to China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EYInterstate Light" panose="0200050600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0</c:f>
              <c:numCache>
                <c:formatCode>General</c:formatCod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</c:numCache>
            </c:numRef>
          </c:cat>
          <c:val>
            <c:numRef>
              <c:f>Sheet1!$B$2:$B$10</c:f>
              <c:numCache>
                <c:formatCode>0</c:formatCode>
                <c:ptCount val="9"/>
                <c:pt idx="0">
                  <c:v>100.6806807</c:v>
                </c:pt>
                <c:pt idx="1">
                  <c:v>100.7373941</c:v>
                </c:pt>
                <c:pt idx="2">
                  <c:v>125.22844310000001</c:v>
                </c:pt>
                <c:pt idx="3">
                  <c:v>154.97473070000001</c:v>
                </c:pt>
                <c:pt idx="4">
                  <c:v>161.32991799999999</c:v>
                </c:pt>
                <c:pt idx="5">
                  <c:v>165.0792222</c:v>
                </c:pt>
                <c:pt idx="6">
                  <c:v>216.1129139</c:v>
                </c:pt>
                <c:pt idx="7">
                  <c:v>223.92374749999999</c:v>
                </c:pt>
                <c:pt idx="8">
                  <c:v>235.3620618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5CD-4F55-91E9-F98E0C41058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mports (China to LAC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EYInterstate Light" panose="0200050600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0</c:f>
              <c:numCache>
                <c:formatCode>General</c:formatCod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</c:numCache>
            </c:numRef>
          </c:cat>
          <c:val>
            <c:numRef>
              <c:f>Sheet1!$C$2:$C$10</c:f>
              <c:numCache>
                <c:formatCode>0</c:formatCode>
                <c:ptCount val="9"/>
                <c:pt idx="0">
                  <c:v>109.2397429</c:v>
                </c:pt>
                <c:pt idx="1">
                  <c:v>95.41596989</c:v>
                </c:pt>
                <c:pt idx="2">
                  <c:v>111.88200689999999</c:v>
                </c:pt>
                <c:pt idx="3">
                  <c:v>128.1843623</c:v>
                </c:pt>
                <c:pt idx="4">
                  <c:v>130.6683591</c:v>
                </c:pt>
                <c:pt idx="5">
                  <c:v>128.7671982</c:v>
                </c:pt>
                <c:pt idx="6">
                  <c:v>197.20806450000001</c:v>
                </c:pt>
                <c:pt idx="7">
                  <c:v>217.7890779</c:v>
                </c:pt>
                <c:pt idx="8">
                  <c:v>210.90893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CD-4F55-91E9-F98E0C4105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70634671"/>
        <c:axId val="1272509103"/>
      </c:lineChart>
      <c:catAx>
        <c:axId val="12706346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endParaRPr lang="en-US"/>
          </a:p>
        </c:txPr>
        <c:crossAx val="1272509103"/>
        <c:crosses val="autoZero"/>
        <c:auto val="1"/>
        <c:lblAlgn val="ctr"/>
        <c:lblOffset val="100"/>
        <c:noMultiLvlLbl val="0"/>
      </c:catAx>
      <c:valAx>
        <c:axId val="1272509103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pPr>
            <a:endParaRPr lang="en-US"/>
          </a:p>
        </c:txPr>
        <c:crossAx val="12706346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/>
              </a:solidFill>
              <a:latin typeface="EYInterstate Light" panose="02000506000000020004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bg1"/>
          </a:solidFill>
          <a:latin typeface="EYInterstate Light" panose="02000506000000020004" pitchFamily="2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lujo de inversión directa en Chile desde Chin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FFFFFF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China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Hoja1!$B$1:$M$1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Hoja1!$B$2:$M$2</c:f>
              <c:numCache>
                <c:formatCode>General</c:formatCode>
                <c:ptCount val="12"/>
                <c:pt idx="0">
                  <c:v>6</c:v>
                </c:pt>
                <c:pt idx="1">
                  <c:v>-71</c:v>
                </c:pt>
                <c:pt idx="2">
                  <c:v>2</c:v>
                </c:pt>
                <c:pt idx="3">
                  <c:v>-6</c:v>
                </c:pt>
                <c:pt idx="4">
                  <c:v>92</c:v>
                </c:pt>
                <c:pt idx="5">
                  <c:v>6</c:v>
                </c:pt>
                <c:pt idx="6">
                  <c:v>-142</c:v>
                </c:pt>
                <c:pt idx="7">
                  <c:v>141</c:v>
                </c:pt>
                <c:pt idx="8">
                  <c:v>241</c:v>
                </c:pt>
                <c:pt idx="9">
                  <c:v>-175</c:v>
                </c:pt>
                <c:pt idx="10">
                  <c:v>288</c:v>
                </c:pt>
                <c:pt idx="11">
                  <c:v>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45C-41FA-9C2D-14DD24D779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17816072"/>
        <c:axId val="466817032"/>
      </c:lineChart>
      <c:catAx>
        <c:axId val="2017816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solidFill>
            <a:srgbClr val="000000"/>
          </a:solidFill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6817032"/>
        <c:crosses val="autoZero"/>
        <c:auto val="1"/>
        <c:lblAlgn val="ctr"/>
        <c:lblOffset val="100"/>
        <c:noMultiLvlLbl val="0"/>
      </c:catAx>
      <c:valAx>
        <c:axId val="466817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rgbClr val="000000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7816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FFFFFF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royectos de inversión China por año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FFFFFF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1"/>
          <c:tx>
            <c:v>US$</c:v>
          </c:tx>
          <c:spPr>
            <a:solidFill>
              <a:srgbClr val="4EA72E"/>
            </a:solidFill>
            <a:ln>
              <a:noFill/>
            </a:ln>
            <a:effectLst/>
          </c:spPr>
          <c:invertIfNegative val="0"/>
          <c:cat>
            <c:numRef>
              <c:f>Hoja3!$B$4:$B$19</c:f>
              <c:numCache>
                <c:formatCode>General</c:formatCode>
                <c:ptCount val="16"/>
                <c:pt idx="0">
                  <c:v>2006</c:v>
                </c:pt>
                <c:pt idx="1">
                  <c:v>2008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Hoja3!$C$4:$C$19</c:f>
              <c:numCache>
                <c:formatCode>General</c:formatCode>
                <c:ptCount val="16"/>
                <c:pt idx="0">
                  <c:v>550</c:v>
                </c:pt>
                <c:pt idx="1">
                  <c:v>38.5</c:v>
                </c:pt>
                <c:pt idx="2">
                  <c:v>18</c:v>
                </c:pt>
                <c:pt idx="3">
                  <c:v>11</c:v>
                </c:pt>
                <c:pt idx="4">
                  <c:v>596.70000000000005</c:v>
                </c:pt>
                <c:pt idx="5">
                  <c:v>45.1</c:v>
                </c:pt>
                <c:pt idx="6">
                  <c:v>35.799999999999997</c:v>
                </c:pt>
                <c:pt idx="7">
                  <c:v>286</c:v>
                </c:pt>
                <c:pt idx="8">
                  <c:v>361</c:v>
                </c:pt>
                <c:pt idx="9">
                  <c:v>99</c:v>
                </c:pt>
                <c:pt idx="10">
                  <c:v>5541.6</c:v>
                </c:pt>
                <c:pt idx="11">
                  <c:v>3408</c:v>
                </c:pt>
                <c:pt idx="12">
                  <c:v>3120</c:v>
                </c:pt>
                <c:pt idx="13">
                  <c:v>4177</c:v>
                </c:pt>
                <c:pt idx="14">
                  <c:v>275</c:v>
                </c:pt>
                <c:pt idx="15">
                  <c:v>898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BF-4E32-87A3-9069D87258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0"/>
        <c:overlap val="100"/>
        <c:axId val="938966024"/>
        <c:axId val="938972168"/>
      </c:barChart>
      <c:lineChart>
        <c:grouping val="standard"/>
        <c:varyColors val="0"/>
        <c:ser>
          <c:idx val="1"/>
          <c:order val="0"/>
          <c:tx>
            <c:v>N° Proyectos</c:v>
          </c:tx>
          <c:spPr>
            <a:ln w="28575" cap="rnd">
              <a:solidFill>
                <a:srgbClr val="E87331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Hoja3!$B$4:$B$19</c:f>
              <c:numCache>
                <c:formatCode>General</c:formatCode>
                <c:ptCount val="16"/>
                <c:pt idx="0">
                  <c:v>2006</c:v>
                </c:pt>
                <c:pt idx="1">
                  <c:v>2008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Hoja3!$D$4:$D$19</c:f>
              <c:numCache>
                <c:formatCode>General</c:formatCode>
                <c:ptCount val="16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  <c:pt idx="8">
                  <c:v>3</c:v>
                </c:pt>
                <c:pt idx="9">
                  <c:v>3</c:v>
                </c:pt>
                <c:pt idx="10">
                  <c:v>8</c:v>
                </c:pt>
                <c:pt idx="11">
                  <c:v>4</c:v>
                </c:pt>
                <c:pt idx="12">
                  <c:v>3</c:v>
                </c:pt>
                <c:pt idx="13">
                  <c:v>5</c:v>
                </c:pt>
                <c:pt idx="14">
                  <c:v>2</c:v>
                </c:pt>
                <c:pt idx="15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CBF-4E32-87A3-9069D87258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23574535"/>
        <c:axId val="612362248"/>
      </c:lineChart>
      <c:catAx>
        <c:axId val="9389660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>
                    <a:solidFill>
                      <a:schemeClr val="bg1"/>
                    </a:solidFill>
                  </a:rPr>
                  <a:t>Año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8972168"/>
        <c:crosses val="autoZero"/>
        <c:auto val="1"/>
        <c:lblAlgn val="ctr"/>
        <c:lblOffset val="100"/>
        <c:noMultiLvlLbl val="0"/>
      </c:catAx>
      <c:valAx>
        <c:axId val="938972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US$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FFFFFF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8966024"/>
        <c:crosses val="autoZero"/>
        <c:crossBetween val="between"/>
      </c:valAx>
      <c:valAx>
        <c:axId val="612362248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° Proyecto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FFFFFF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3574535"/>
        <c:crosses val="max"/>
        <c:crossBetween val="between"/>
      </c:valAx>
      <c:catAx>
        <c:axId val="82357453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1236224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FFFFFF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Mecanismo de inversion </a:t>
            </a:r>
            <a:r>
              <a:rPr lang="en-US" dirty="0" err="1"/>
              <a:t>utilizado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industria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FFFFFF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{"Adquisición"}</c:f>
              <c:strCache>
                <c:ptCount val="1"/>
                <c:pt idx="0">
                  <c:v>Adquisició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Hoja3!$J$5:$J$11</c:f>
              <c:strCache>
                <c:ptCount val="7"/>
                <c:pt idx="0">
                  <c:v>Energía</c:v>
                </c:pt>
                <c:pt idx="1">
                  <c:v>Minería</c:v>
                </c:pt>
                <c:pt idx="2">
                  <c:v>Infraestructura</c:v>
                </c:pt>
                <c:pt idx="3">
                  <c:v>Agronoma</c:v>
                </c:pt>
                <c:pt idx="4">
                  <c:v>Bienes Raices</c:v>
                </c:pt>
                <c:pt idx="5">
                  <c:v>TIC</c:v>
                </c:pt>
                <c:pt idx="6">
                  <c:v>Manufactura</c:v>
                </c:pt>
              </c:strCache>
            </c:strRef>
          </c:cat>
          <c:val>
            <c:numRef>
              <c:f>Hoja3!$K$5:$K$11</c:f>
              <c:numCache>
                <c:formatCode>General</c:formatCode>
                <c:ptCount val="7"/>
                <c:pt idx="0">
                  <c:v>6609.2</c:v>
                </c:pt>
                <c:pt idx="1">
                  <c:v>4279</c:v>
                </c:pt>
                <c:pt idx="3">
                  <c:v>1069.3</c:v>
                </c:pt>
                <c:pt idx="4">
                  <c:v>8.1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53-464E-9EA0-54E5051DCA67}"/>
            </c:ext>
          </c:extLst>
        </c:ser>
        <c:ser>
          <c:idx val="1"/>
          <c:order val="1"/>
          <c:tx>
            <c:strRef>
              <c:f>{"Construcción"}</c:f>
              <c:strCache>
                <c:ptCount val="1"/>
                <c:pt idx="0">
                  <c:v>Construcció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3!$J$5:$J$11</c:f>
              <c:strCache>
                <c:ptCount val="7"/>
                <c:pt idx="0">
                  <c:v>Energía</c:v>
                </c:pt>
                <c:pt idx="1">
                  <c:v>Minería</c:v>
                </c:pt>
                <c:pt idx="2">
                  <c:v>Infraestructura</c:v>
                </c:pt>
                <c:pt idx="3">
                  <c:v>Agronoma</c:v>
                </c:pt>
                <c:pt idx="4">
                  <c:v>Bienes Raices</c:v>
                </c:pt>
                <c:pt idx="5">
                  <c:v>TIC</c:v>
                </c:pt>
                <c:pt idx="6">
                  <c:v>Manufactura</c:v>
                </c:pt>
              </c:strCache>
            </c:strRef>
          </c:cat>
          <c:val>
            <c:numRef>
              <c:f>Hoja3!$L$5:$L$11</c:f>
              <c:numCache>
                <c:formatCode>General</c:formatCode>
                <c:ptCount val="7"/>
                <c:pt idx="2">
                  <c:v>4294</c:v>
                </c:pt>
                <c:pt idx="4">
                  <c:v>5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53-464E-9EA0-54E5051DCA67}"/>
            </c:ext>
          </c:extLst>
        </c:ser>
        <c:ser>
          <c:idx val="2"/>
          <c:order val="2"/>
          <c:tx>
            <c:strRef>
              <c:f>{"Greenfield"}</c:f>
              <c:strCache>
                <c:ptCount val="1"/>
                <c:pt idx="0">
                  <c:v>Greenfiel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Hoja3!$J$5:$J$11</c:f>
              <c:strCache>
                <c:ptCount val="7"/>
                <c:pt idx="0">
                  <c:v>Energía</c:v>
                </c:pt>
                <c:pt idx="1">
                  <c:v>Minería</c:v>
                </c:pt>
                <c:pt idx="2">
                  <c:v>Infraestructura</c:v>
                </c:pt>
                <c:pt idx="3">
                  <c:v>Agronoma</c:v>
                </c:pt>
                <c:pt idx="4">
                  <c:v>Bienes Raices</c:v>
                </c:pt>
                <c:pt idx="5">
                  <c:v>TIC</c:v>
                </c:pt>
                <c:pt idx="6">
                  <c:v>Manufactura</c:v>
                </c:pt>
              </c:strCache>
            </c:strRef>
          </c:cat>
          <c:val>
            <c:numRef>
              <c:f>Hoja3!$M$5:$M$11</c:f>
              <c:numCache>
                <c:formatCode>General</c:formatCode>
                <c:ptCount val="7"/>
                <c:pt idx="0">
                  <c:v>410.9</c:v>
                </c:pt>
                <c:pt idx="1">
                  <c:v>80</c:v>
                </c:pt>
                <c:pt idx="3">
                  <c:v>10</c:v>
                </c:pt>
                <c:pt idx="4">
                  <c:v>121.9</c:v>
                </c:pt>
                <c:pt idx="5">
                  <c:v>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53-464E-9EA0-54E5051DCA67}"/>
            </c:ext>
          </c:extLst>
        </c:ser>
        <c:ser>
          <c:idx val="3"/>
          <c:order val="3"/>
          <c:tx>
            <c:strRef>
              <c:f>{"Empresa conjunta"}</c:f>
              <c:strCache>
                <c:ptCount val="1"/>
                <c:pt idx="0">
                  <c:v>Empresa conjunt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Hoja3!$J$5:$J$11</c:f>
              <c:strCache>
                <c:ptCount val="7"/>
                <c:pt idx="0">
                  <c:v>Energía</c:v>
                </c:pt>
                <c:pt idx="1">
                  <c:v>Minería</c:v>
                </c:pt>
                <c:pt idx="2">
                  <c:v>Infraestructura</c:v>
                </c:pt>
                <c:pt idx="3">
                  <c:v>Agronoma</c:v>
                </c:pt>
                <c:pt idx="4">
                  <c:v>Bienes Raices</c:v>
                </c:pt>
                <c:pt idx="5">
                  <c:v>TIC</c:v>
                </c:pt>
                <c:pt idx="6">
                  <c:v>Manufactura</c:v>
                </c:pt>
              </c:strCache>
            </c:strRef>
          </c:cat>
          <c:val>
            <c:numRef>
              <c:f>Hoja3!$N$5:$N$11</c:f>
              <c:numCache>
                <c:formatCode>General</c:formatCode>
                <c:ptCount val="7"/>
                <c:pt idx="0">
                  <c:v>1359.2</c:v>
                </c:pt>
                <c:pt idx="1">
                  <c:v>576</c:v>
                </c:pt>
                <c:pt idx="3">
                  <c:v>17</c:v>
                </c:pt>
                <c:pt idx="5">
                  <c:v>170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C53-464E-9EA0-54E5051DC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408840"/>
        <c:axId val="60410888"/>
      </c:barChart>
      <c:catAx>
        <c:axId val="6040884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410888"/>
        <c:crosses val="autoZero"/>
        <c:auto val="1"/>
        <c:lblAlgn val="ctr"/>
        <c:lblOffset val="100"/>
        <c:noMultiLvlLbl val="0"/>
      </c:catAx>
      <c:valAx>
        <c:axId val="60410888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4088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FFFFFF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llones de US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20</c:v>
                </c:pt>
                <c:pt idx="5">
                  <c:v>2024</c:v>
                </c:pt>
              </c:numCache>
            </c:numRef>
          </c:cat>
          <c:val>
            <c:numRef>
              <c:f>Sheet1!$B$2:$B$7</c:f>
              <c:numCache>
                <c:formatCode>#,##0</c:formatCode>
                <c:ptCount val="6"/>
                <c:pt idx="0">
                  <c:v>901.77166299999999</c:v>
                </c:pt>
                <c:pt idx="1">
                  <c:v>4895.5201639999996</c:v>
                </c:pt>
                <c:pt idx="2">
                  <c:v>17324.906832000001</c:v>
                </c:pt>
                <c:pt idx="3">
                  <c:v>16219.259747</c:v>
                </c:pt>
                <c:pt idx="4">
                  <c:v>28684.607822000002</c:v>
                </c:pt>
                <c:pt idx="5">
                  <c:v>37995.97039821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70-4F7F-8940-7C030A852E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989749231"/>
        <c:axId val="1989758831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% del total de exportaciones chilena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20</c:v>
                </c:pt>
                <c:pt idx="5">
                  <c:v>2024</c:v>
                </c:pt>
              </c:numCache>
            </c:numRef>
          </c:cat>
          <c:val>
            <c:numRef>
              <c:f>Sheet1!$C$2:$C$7</c:f>
              <c:numCache>
                <c:formatCode>0%</c:formatCode>
                <c:ptCount val="6"/>
                <c:pt idx="0">
                  <c:v>4.9508439808821254E-2</c:v>
                </c:pt>
                <c:pt idx="1">
                  <c:v>0.11633546680352713</c:v>
                </c:pt>
                <c:pt idx="2">
                  <c:v>0.24257809539561595</c:v>
                </c:pt>
                <c:pt idx="3">
                  <c:v>0.26110309742979171</c:v>
                </c:pt>
                <c:pt idx="4">
                  <c:v>0.38720733227334359</c:v>
                </c:pt>
                <c:pt idx="5">
                  <c:v>0.373187408735865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970-4F7F-8940-7C030A852E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21717088"/>
        <c:axId val="1521732448"/>
      </c:lineChart>
      <c:catAx>
        <c:axId val="19897492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9758831"/>
        <c:crosses val="autoZero"/>
        <c:auto val="1"/>
        <c:lblAlgn val="ctr"/>
        <c:lblOffset val="100"/>
        <c:noMultiLvlLbl val="0"/>
      </c:catAx>
      <c:valAx>
        <c:axId val="1989758831"/>
        <c:scaling>
          <c:orientation val="minMax"/>
          <c:max val="6000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9749231"/>
        <c:crosses val="autoZero"/>
        <c:crossBetween val="between"/>
      </c:valAx>
      <c:valAx>
        <c:axId val="152173244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1717088"/>
        <c:crosses val="max"/>
        <c:crossBetween val="between"/>
      </c:valAx>
      <c:catAx>
        <c:axId val="1521717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2173244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28/05/2025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28/05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5288" y="692150"/>
            <a:ext cx="6159500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92910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32CA42-C387-558D-6078-42771ED90D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856772-EFD6-651B-681D-DE32AFBCA8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7ED02F-443F-3FD7-71C5-5C7C838705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>
              <a:latin typeface="Arial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B20F56-6E57-25A8-6523-1DE5E2BA2F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257EB1-13D0-A543-99D7-1BA6B2957D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13335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3E795B-32DA-162C-4FD4-E194D7DD4A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1E19DDD-EE1C-CEB0-7876-1E01CAEF80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CE998E-48D6-981E-C7FF-D387193C33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F6E707-4129-E21E-7768-3208AEB387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07265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87502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257EB1-13D0-A543-99D7-1BA6B2957D7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5054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257EB1-13D0-A543-99D7-1BA6B2957D7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7784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257EB1-13D0-A543-99D7-1BA6B2957D7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629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257EB1-13D0-A543-99D7-1BA6B2957D7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3096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342119-1C5B-D056-2476-C0527B8DB3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A7E051-DE21-953B-C201-41950DDC28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28D1130-D7AF-FC5C-FDEC-EFFC80DDB3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>
              <a:latin typeface="Arial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FF4E7A-0214-D256-7DD5-E084E226DC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257EB1-13D0-A543-99D7-1BA6B2957D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69898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70586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AB7E5B-372B-487F-F0D5-BCE8149847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15322C-FAA8-647B-2011-33ED74FE61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3B84CE-A9F3-8679-7804-A6837A5F11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>
              <a:latin typeface="Arial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8DA9B-1109-07A5-8369-579D0A75AC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257EB1-13D0-A543-99D7-1BA6B2957D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28785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0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4" Type="http://schemas.openxmlformats.org/officeDocument/2006/relationships/image" Target="../media/image10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8.wmf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4" Type="http://schemas.openxmlformats.org/officeDocument/2006/relationships/image" Target="../media/image10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ackground" descr="A bright light in the dark&#10;&#10;Description automatically generated">
            <a:extLst>
              <a:ext uri="{FF2B5EF4-FFF2-40B4-BE49-F238E27FC236}">
                <a16:creationId xmlns:a16="http://schemas.microsoft.com/office/drawing/2014/main" id="{D9E433B3-F2D7-EE0E-B292-997EB25B05B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A5EED3AD-188C-E954-617B-9CB9E1BA8A1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85521" y="1411287"/>
            <a:ext cx="11224800" cy="46386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EECBC22F-ABFB-48B6-CDC6-4309042A5544}"/>
              </a:ext>
            </a:extLst>
          </p:cNvPr>
          <p:cNvGrpSpPr/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3BB4C61E-397F-F826-D32A-B638714F9D51}"/>
                </a:ext>
              </a:extLst>
            </p:cNvPr>
            <p:cNvSpPr/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4E97927A-B711-1BD1-7DB6-31EEB9331E23}"/>
                </a:ext>
              </a:extLst>
            </p:cNvPr>
            <p:cNvSpPr/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D5D626F4-6013-3429-50AE-E567EFCF0F27}"/>
                </a:ext>
              </a:extLst>
            </p:cNvPr>
            <p:cNvSpPr/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C09D62-8CBB-4C26-25AB-05059EB86BE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86EE34A0-C73B-43AA-B981-8A70FF27C404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9017EB-39DF-917C-4EA3-49EFC051410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8B8B36-78CB-32A2-25CF-5967EFA2456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03840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A5EED3AD-188C-E954-617B-9CB9E1BA8A1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85521" y="1411287"/>
            <a:ext cx="11224800" cy="46386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BEF5EE-C1B0-CB56-30BC-F2EA02D0DD7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0439DC1-BA10-4880-BF2E-76893FD81790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539B410-713F-D002-C7AD-50375ABC03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4877F87-1E81-7C70-C23C-765CF083A38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90598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A5EED3AD-188C-E954-617B-9CB9E1BA8A1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85520" y="1411287"/>
            <a:ext cx="5356800" cy="46386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87884BD-C538-2E4C-E4FE-1C5F7356388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53069" y="1411287"/>
            <a:ext cx="5356800" cy="46386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3DFCB-D1B8-4386-87B8-F40C5AEAFEFB}" type="datetime3">
              <a:rPr lang="en-US" smtClean="0"/>
              <a:t>28 May 2025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32306285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2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10992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39851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F909FA-FD18-4B0E-A627-818CB7D44EF8}" type="datetime3">
              <a:rPr lang="en-US" smtClean="0"/>
              <a:t>28 May 2025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18860015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auto">
          <a:xfrm>
            <a:off x="485521" y="1411287"/>
            <a:ext cx="3571200" cy="4638675"/>
          </a:xfrm>
          <a:solidFill>
            <a:schemeClr val="bg2">
              <a:alpha val="60000"/>
            </a:scheme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dirty="0"/>
              <a:t>Only one highlight line should appear. Delete the other two lines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auto">
          <a:xfrm>
            <a:off x="4312686" y="1411287"/>
            <a:ext cx="3571200" cy="4638675"/>
          </a:xfrm>
          <a:solidFill>
            <a:schemeClr val="bg2">
              <a:alpha val="60000"/>
            </a:scheme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dirty="0"/>
              <a:t>Only one highlight line should appear. Delete the other two lines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auto">
          <a:xfrm>
            <a:off x="8139850" y="1411287"/>
            <a:ext cx="3571200" cy="4638675"/>
          </a:xfrm>
          <a:solidFill>
            <a:schemeClr val="bg2">
              <a:alpha val="60000"/>
            </a:scheme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dirty="0"/>
              <a:t>Only one highlight line should appear. Delete the other two lines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 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 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B71EF-A6FE-49B4-A369-976B1595DA2D}" type="datetime3">
              <a:rPr lang="en-US" smtClean="0"/>
              <a:t>28 May 2025</a:t>
            </a:fld>
            <a:endParaRPr lang="en-US"/>
          </a:p>
        </p:txBody>
      </p:sp>
      <p:sp>
        <p:nvSpPr>
          <p:cNvPr id="5" name="Footer Placeholder 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8" name="Highlight line 1">
            <a:extLst>
              <a:ext uri="{FF2B5EF4-FFF2-40B4-BE49-F238E27FC236}">
                <a16:creationId xmlns:a16="http://schemas.microsoft.com/office/drawing/2014/main" id="{E1FBA9F5-4E1E-7157-650F-920396E6BD16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485775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9" name="Highlight line 2">
            <a:extLst>
              <a:ext uri="{FF2B5EF4-FFF2-40B4-BE49-F238E27FC236}">
                <a16:creationId xmlns:a16="http://schemas.microsoft.com/office/drawing/2014/main" id="{F0D5216F-CE4B-8B47-FCA1-EA9B01BBAD6B}"/>
              </a:ext>
            </a:extLst>
          </p:cNvPr>
          <p:cNvSpPr>
            <a:spLocks noGrp="1"/>
          </p:cNvSpPr>
          <p:nvPr>
            <p:ph type="dgm" sz="quarter" idx="16" hasCustomPrompt="1"/>
          </p:nvPr>
        </p:nvSpPr>
        <p:spPr>
          <a:xfrm>
            <a:off x="4312686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0" name="Highlight line 3">
            <a:extLst>
              <a:ext uri="{FF2B5EF4-FFF2-40B4-BE49-F238E27FC236}">
                <a16:creationId xmlns:a16="http://schemas.microsoft.com/office/drawing/2014/main" id="{945CF969-2B44-5C5F-B1A2-132B74FE4B46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139851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806047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22DF48-3559-E7A7-D505-A6D3643BC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8185A1-137A-4E09-8168-86FD3E6A7973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89C7F-B322-1F93-A5AB-0E322FB93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26D098-604F-1C6E-4D3F-56B3EFAD11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4560AA6-636D-C99A-75CC-1AC2E4A0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2" y="2016125"/>
            <a:ext cx="5610479" cy="4033837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D83AEB6-812D-A880-EAD7-47C376F054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9868" y="0"/>
            <a:ext cx="5842132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097C4A53-D484-0A91-32DE-DC7DFBC6D5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9"/>
            <a:ext cx="5610479" cy="1057473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4" name="SmartArt Placeholder 13">
            <a:extLst>
              <a:ext uri="{FF2B5EF4-FFF2-40B4-BE49-F238E27FC236}">
                <a16:creationId xmlns:a16="http://schemas.microsoft.com/office/drawing/2014/main" id="{F2CC33D2-B8A3-7F9B-23C1-E7D77B5CBDBE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5" name="SmartArt Placeholder 14">
            <a:extLst>
              <a:ext uri="{FF2B5EF4-FFF2-40B4-BE49-F238E27FC236}">
                <a16:creationId xmlns:a16="http://schemas.microsoft.com/office/drawing/2014/main" id="{994D7891-125A-9B0F-C008-AB28FC5AC8AA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144232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8AE523-7B3C-8783-DFC0-18E1AA2D8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6FD95-0C81-8816-F6A7-13708A804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4BB4B1-A3BE-434C-9AD2-D126D4431DC9}" type="datetime3">
              <a:rPr lang="en-US" smtClean="0"/>
              <a:t>28 May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B0C7E-A414-4EA6-7DAD-5068A7AE4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298F4-310D-68C0-AA7E-8C7FA83AB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23" y="2523291"/>
            <a:ext cx="3571200" cy="1438855"/>
          </a:xfrm>
        </p:spPr>
        <p:txBody>
          <a:bodyPr>
            <a:spAutoFit/>
          </a:bodyPr>
          <a:lstStyle>
            <a:lvl1pPr marL="0" indent="0" algn="ctr">
              <a:lnSpc>
                <a:spcPct val="85000"/>
              </a:lnSpc>
              <a:buNone/>
              <a:defRPr sz="11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252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000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0886606-7F7C-229B-523F-A51D629D8F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2096" y="2531683"/>
            <a:ext cx="3571200" cy="1438855"/>
          </a:xfrm>
        </p:spPr>
        <p:txBody>
          <a:bodyPr>
            <a:spAutoFit/>
          </a:bodyPr>
          <a:lstStyle>
            <a:lvl1pPr marL="0" indent="0" algn="ctr">
              <a:lnSpc>
                <a:spcPct val="85000"/>
              </a:lnSpc>
              <a:buNone/>
              <a:defRPr sz="11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000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DFDFED0-9426-6F78-EE09-B416D35596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38670" y="2531683"/>
            <a:ext cx="3571200" cy="1438855"/>
          </a:xfrm>
        </p:spPr>
        <p:txBody>
          <a:bodyPr>
            <a:spAutoFit/>
          </a:bodyPr>
          <a:lstStyle>
            <a:lvl1pPr marL="0" indent="0" algn="ctr">
              <a:lnSpc>
                <a:spcPct val="85000"/>
              </a:lnSpc>
              <a:buNone/>
              <a:defRPr sz="11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000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0D1CEB-1876-8DB7-6913-D6F96D953A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5523" y="3936165"/>
            <a:ext cx="3571200" cy="2113797"/>
          </a:xfrm>
        </p:spPr>
        <p:txBody>
          <a:bodyPr/>
          <a:lstStyle>
            <a:lvl1pPr marL="0" indent="0" algn="ctr">
              <a:buNone/>
              <a:defRPr/>
            </a:lvl1pPr>
            <a:lvl2pPr marL="0" indent="0" algn="ctr">
              <a:buNone/>
              <a:defRPr sz="1800"/>
            </a:lvl2pPr>
            <a:lvl3pPr marL="0" indent="0" algn="ctr">
              <a:buNone/>
              <a:defRPr sz="1600"/>
            </a:lvl3pPr>
            <a:lvl4pPr marL="0" indent="0" algn="ctr">
              <a:buNone/>
              <a:defRPr sz="1400"/>
            </a:lvl4pPr>
            <a:lvl5pPr marL="0" indent="0" algn="ctr">
              <a:buNone/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344ED76-364E-1538-DFB0-B25FC3D75E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12096" y="3936165"/>
            <a:ext cx="3571200" cy="2113797"/>
          </a:xfrm>
        </p:spPr>
        <p:txBody>
          <a:bodyPr/>
          <a:lstStyle>
            <a:lvl1pPr marL="0" indent="0" algn="ctr">
              <a:buNone/>
              <a:defRPr/>
            </a:lvl1pPr>
            <a:lvl2pPr marL="0" indent="0" algn="ctr">
              <a:buNone/>
              <a:defRPr sz="1800"/>
            </a:lvl2pPr>
            <a:lvl3pPr marL="0" indent="0" algn="ctr">
              <a:buNone/>
              <a:defRPr sz="1600"/>
            </a:lvl3pPr>
            <a:lvl4pPr marL="0" indent="0" algn="ctr">
              <a:buNone/>
              <a:defRPr sz="1400"/>
            </a:lvl4pPr>
            <a:lvl5pPr marL="0" indent="0" algn="ctr">
              <a:buNone/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CFE1354-17C3-F8BE-C22A-B4DC2FEEE4D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670" y="3936165"/>
            <a:ext cx="3571200" cy="2113797"/>
          </a:xfrm>
        </p:spPr>
        <p:txBody>
          <a:bodyPr/>
          <a:lstStyle>
            <a:lvl1pPr marL="0" indent="0" algn="ctr">
              <a:buNone/>
              <a:defRPr/>
            </a:lvl1pPr>
            <a:lvl2pPr marL="0" indent="0" algn="ctr">
              <a:buNone/>
              <a:defRPr sz="1800"/>
            </a:lvl2pPr>
            <a:lvl3pPr marL="0" indent="0" algn="ctr">
              <a:buNone/>
              <a:defRPr sz="1600"/>
            </a:lvl3pPr>
            <a:lvl4pPr marL="0" indent="0" algn="ctr">
              <a:buNone/>
              <a:defRPr sz="1400"/>
            </a:lvl4pPr>
            <a:lvl5pPr marL="0" indent="0" algn="ctr">
              <a:buNone/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197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667BB-7D23-4326-996F-F2FD21A2BC07}" type="datetime3">
              <a:rPr lang="en-US" smtClean="0"/>
              <a:t>28 May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Media Placeholder 11">
            <a:extLst>
              <a:ext uri="{FF2B5EF4-FFF2-40B4-BE49-F238E27FC236}">
                <a16:creationId xmlns:a16="http://schemas.microsoft.com/office/drawing/2014/main" id="{7AA8680C-DF0E-A59A-1D40-85E5B348B8F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485524" y="1411287"/>
            <a:ext cx="8160263" cy="4638675"/>
          </a:xfrm>
        </p:spPr>
        <p:txBody>
          <a:bodyPr/>
          <a:lstStyle/>
          <a:p>
            <a:r>
              <a:rPr lang="en-GB" dirty="0"/>
              <a:t>Click icon to add media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E85579B-86BF-EE24-023A-9F648CFE07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04632" y="1411287"/>
            <a:ext cx="2805238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17099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91B39-732E-4B6F-94A9-5B5F5CB31F6E}" type="datetime3">
              <a:rPr lang="en-US" smtClean="0"/>
              <a:t>28 May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478FB2-6DCF-6364-722B-2742BAEAC4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136" y="4437064"/>
            <a:ext cx="2544933" cy="60483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CFAFC67-67EB-77A0-37B8-8F94E36FCE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5136" y="5243516"/>
            <a:ext cx="2544932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9C6B41-3A95-E48C-A2FB-F44DF9BAA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78958" y="4437064"/>
            <a:ext cx="2544933" cy="60483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178FBE03-C652-44D2-25D5-890DFD9C79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78958" y="5243516"/>
            <a:ext cx="2544932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2E834814-156C-DD69-C4E8-B06A336B25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2781" y="4437064"/>
            <a:ext cx="2544933" cy="60483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15004B-E405-3D2D-0ECF-803558DDBD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2781" y="5243516"/>
            <a:ext cx="2544932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F9516F05-42DF-88FC-DB3A-ABF3A24B7C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66603" y="4437064"/>
            <a:ext cx="2544933" cy="60483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7ADA0828-0BAF-D28A-DFD9-EC75EA33AA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166603" y="5243516"/>
            <a:ext cx="2544932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26" name="Picture Placeholder 12">
            <a:extLst>
              <a:ext uri="{FF2B5EF4-FFF2-40B4-BE49-F238E27FC236}">
                <a16:creationId xmlns:a16="http://schemas.microsoft.com/office/drawing/2014/main" id="{C8B47107-CA48-6A17-263C-DE3A8EBB5E2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6802" y="1693850"/>
            <a:ext cx="2541600" cy="25416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7F2B691F-0BA0-78CD-0B0D-09ADBB99BEC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80625" y="1693850"/>
            <a:ext cx="2541600" cy="25416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8" name="Picture Placeholder 12">
            <a:extLst>
              <a:ext uri="{FF2B5EF4-FFF2-40B4-BE49-F238E27FC236}">
                <a16:creationId xmlns:a16="http://schemas.microsoft.com/office/drawing/2014/main" id="{16865DFF-E6B4-6453-02D9-4C145A3BB15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74448" y="1693850"/>
            <a:ext cx="2541600" cy="25416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9" name="Picture Placeholder 12">
            <a:extLst>
              <a:ext uri="{FF2B5EF4-FFF2-40B4-BE49-F238E27FC236}">
                <a16:creationId xmlns:a16="http://schemas.microsoft.com/office/drawing/2014/main" id="{5ABD9B1F-4FA5-2EC8-8720-83890818B2E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68270" y="1693850"/>
            <a:ext cx="2541600" cy="25416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0880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8AE523-7B3C-8783-DFC0-18E1AA2D8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6FD95-0C81-8816-F6A7-13708A804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E320E-BB6B-411F-A226-9D8BB518E6BF}" type="datetime3">
              <a:rPr lang="en-US" smtClean="0"/>
              <a:t>28 May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B0C7E-A414-4EA6-7DAD-5068A7AE4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298F4-310D-68C0-AA7E-8C7FA83AB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3779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9B1A0959-0F7F-FF84-F8C5-2E76E9D45F4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dirty="0"/>
              <a:t>Chapter 00</a:t>
            </a:r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A7D0729-64C3-47D5-8191-1A5E13E79DD2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2CBC4E2-6D56-5589-38B7-123BB8BE748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A8D992E6-EAE7-83CF-5B22-7C7DCDB38DC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DDA26C30-C61D-FE6C-E1DC-6A89E2511A9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69AE1E0B-DC05-6DB6-F457-D229556B4C4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51792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ackground" descr="A blurry image of a person&#10;&#10;Description automatically generated">
            <a:extLst>
              <a:ext uri="{FF2B5EF4-FFF2-40B4-BE49-F238E27FC236}">
                <a16:creationId xmlns:a16="http://schemas.microsoft.com/office/drawing/2014/main" id="{E1799826-E423-46F7-36D9-A960EFB822B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A5EED3AD-188C-E954-617B-9CB9E1BA8A1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85520" y="1411287"/>
            <a:ext cx="5356800" cy="46386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87884BD-C538-2E4C-E4FE-1C5F7356388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53069" y="1411287"/>
            <a:ext cx="5356800" cy="46386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4A8FEE-D114-42EB-B467-07FC8ACCD624}" type="datetime3">
              <a:rPr lang="en-US" smtClean="0"/>
              <a:t>28 May 2025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4CFBABDE-43B8-B4AD-62B7-9BAD9B05193A}"/>
              </a:ext>
            </a:extLst>
          </p:cNvPr>
          <p:cNvGrpSpPr/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9FB277BB-02D7-CF64-703C-61BA44354D43}"/>
                </a:ext>
              </a:extLst>
            </p:cNvPr>
            <p:cNvSpPr/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6DA16F5A-1F04-237B-E750-9909A6478A86}"/>
                </a:ext>
              </a:extLst>
            </p:cNvPr>
            <p:cNvSpPr/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55E6116E-1248-BA3A-5F9C-827C2BE26CEC}"/>
                </a:ext>
              </a:extLst>
            </p:cNvPr>
            <p:cNvSpPr/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19611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3364AF-A28F-FA53-8E16-58CAF7F96B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550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7" imgH="307" progId="TCLayout.ActiveDocument.1">
                  <p:embed/>
                </p:oleObj>
              </mc:Choice>
              <mc:Fallback>
                <p:oleObj name="think-cell Slide" r:id="rId3" imgW="307" imgH="30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3364AF-A28F-FA53-8E16-58CAF7F96B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79FA89-B847-B387-87DA-EECEA0CC52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501" y="285750"/>
            <a:ext cx="10515600" cy="911283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007DA46-6C2C-1CED-D81E-A3774D468D08}"/>
              </a:ext>
            </a:extLst>
          </p:cNvPr>
          <p:cNvSpPr txBox="1"/>
          <p:nvPr userDrawn="1"/>
        </p:nvSpPr>
        <p:spPr>
          <a:xfrm>
            <a:off x="239251" y="104145"/>
            <a:ext cx="1905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46">
              <a:defRPr/>
            </a:pPr>
            <a:r>
              <a:rPr lang="en-US" sz="1100" kern="0">
                <a:solidFill>
                  <a:srgbClr val="FFE600"/>
                </a:solidFill>
                <a:latin typeface="EYInterstate Regular" panose="02000503020000020004" pitchFamily="2" charset="0"/>
              </a:rPr>
              <a:t>EY Latam – China Market</a:t>
            </a:r>
            <a:endParaRPr lang="en-US" sz="1100" kern="0">
              <a:solidFill>
                <a:srgbClr val="FFE600"/>
              </a:solidFill>
              <a:latin typeface="EYInterstate Light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84685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Frame Yellow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 descr="Vista de una ciudad desde lo alto de un cuerpo de agua&#10;&#10;El contenido generado por IA puede ser incorrecto.">
            <a:extLst>
              <a:ext uri="{FF2B5EF4-FFF2-40B4-BE49-F238E27FC236}">
                <a16:creationId xmlns:a16="http://schemas.microsoft.com/office/drawing/2014/main" id="{BF08CD16-118D-4D17-EA58-2E03478DC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546"/>
          <a:stretch/>
        </p:blipFill>
        <p:spPr>
          <a:xfrm>
            <a:off x="-8096" y="-99392"/>
            <a:ext cx="12199164" cy="695739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D5BBB5A-0446-3C14-B12C-56A5730E1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99392"/>
            <a:ext cx="8386354" cy="695739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4EF81A0-CB40-42B3-5E1A-AA5D72BFB4DD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C1D2CA-2DB1-76BC-DAFE-210631AEC288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F198833-5BF3-BB5E-C3B2-7B705558D02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2DC9F8E-6F8C-AF4A-9D84-4AD1502BB512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7C135C3-9109-7FAF-7A1E-C1697A8F5581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7CB01A6-453C-E086-340E-1FA1E3E1B1A3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040146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A5EED3AD-188C-E954-617B-9CB9E1BA8A1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85521" y="1411287"/>
            <a:ext cx="11224800" cy="46386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E28B2B-ED84-D8B9-C6E0-AF4BC1706BD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B408C-772D-4848-9C1B-62A1883586B1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2FBA85-AB9A-E34B-448A-B5BB1CE520B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1C081B-AFD3-2CFE-BC00-E7A7205688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34839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82588"/>
            <a:ext cx="11224347" cy="63817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A5EED3AD-188C-E954-617B-9CB9E1BA8A1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85520" y="1411287"/>
            <a:ext cx="5356800" cy="46386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87884BD-C538-2E4C-E4FE-1C5F7356388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53069" y="1411287"/>
            <a:ext cx="5356800" cy="46386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86011-88F7-4D27-88FF-29229304D94D}" type="datetime3">
              <a:rPr lang="en-US" smtClean="0"/>
              <a:t>28 May 2025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37375091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2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12686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39851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EDE8A-D1F0-4637-88FC-FEA4C268842A}" type="datetime3">
              <a:rPr lang="en-US" smtClean="0"/>
              <a:t>28 May 2025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A961CD-5D51-5DAB-76F4-3F2524B366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157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3" y="1411287"/>
            <a:ext cx="25488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77372" y="1411287"/>
            <a:ext cx="25488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69221" y="1411287"/>
            <a:ext cx="25488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70FED-DAAF-4620-8301-2010C6668930}" type="datetime3">
              <a:rPr lang="en-US" smtClean="0"/>
              <a:t>28 May 2025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A961CD-5D51-5DAB-76F4-3F2524B36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82588"/>
            <a:ext cx="11224347" cy="63817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A89EC53-4B4E-25EA-86D3-0A198384FA8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61070" y="1411287"/>
            <a:ext cx="25488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8293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3" y="1411287"/>
            <a:ext cx="2548800" cy="2219326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77372" y="1411287"/>
            <a:ext cx="2548800" cy="2219326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69221" y="1411287"/>
            <a:ext cx="2548800" cy="2219326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4A607-3901-491C-8885-564EE266EC68}" type="datetime3">
              <a:rPr lang="en-US" smtClean="0"/>
              <a:t>28 May 2025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A961CD-5D51-5DAB-76F4-3F2524B36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82588"/>
            <a:ext cx="11224347" cy="638175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A89EC53-4B4E-25EA-86D3-0A198384FA8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61070" y="1411287"/>
            <a:ext cx="2548800" cy="2219326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0091EC5-9CD6-B52C-F192-1D28C197D5E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85523" y="3830636"/>
            <a:ext cx="2548800" cy="2219326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F5F74F9-864E-3DD7-6291-763A9D830F2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377373" y="3830636"/>
            <a:ext cx="2548800" cy="2219326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EC6B6C9-6D62-F36C-8404-9E032EF106E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269221" y="3830636"/>
            <a:ext cx="2548800" cy="2219326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D7F9E8A1-A5A0-CC6C-3FD8-D24AC966E14B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61070" y="3830636"/>
            <a:ext cx="2548800" cy="2219326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17114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5521" y="1411287"/>
            <a:ext cx="3571200" cy="4638675"/>
          </a:xfrm>
          <a:solidFill>
            <a:schemeClr val="bg2">
              <a:alpha val="60000"/>
            </a:scheme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dirty="0"/>
              <a:t>Only one highlight line should appear. Delete the other two lines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12096" y="1411287"/>
            <a:ext cx="3571200" cy="4638675"/>
          </a:xfrm>
          <a:solidFill>
            <a:schemeClr val="bg2">
              <a:alpha val="60000"/>
            </a:scheme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dirty="0"/>
              <a:t>Only one highlight line should appear. Delete the other two lines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138670" y="1411287"/>
            <a:ext cx="3571200" cy="4638675"/>
          </a:xfrm>
          <a:solidFill>
            <a:schemeClr val="bg2">
              <a:alpha val="60000"/>
            </a:scheme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dirty="0"/>
              <a:t>Only one highlight line should appear. Delete the other two lines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 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 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CB5E8-9A2D-4796-9B62-7B13DBF3233D}" type="datetime3">
              <a:rPr lang="en-US" smtClean="0"/>
              <a:t>28 May 2025</a:t>
            </a:fld>
            <a:endParaRPr lang="en-US"/>
          </a:p>
        </p:txBody>
      </p:sp>
      <p:sp>
        <p:nvSpPr>
          <p:cNvPr id="5" name="Footer Placeholder 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8" name="Highlight line 1">
            <a:extLst>
              <a:ext uri="{FF2B5EF4-FFF2-40B4-BE49-F238E27FC236}">
                <a16:creationId xmlns:a16="http://schemas.microsoft.com/office/drawing/2014/main" id="{E1FBA9F5-4E1E-7157-650F-920396E6BD16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485775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9" name="Highlight line 2">
            <a:extLst>
              <a:ext uri="{FF2B5EF4-FFF2-40B4-BE49-F238E27FC236}">
                <a16:creationId xmlns:a16="http://schemas.microsoft.com/office/drawing/2014/main" id="{F0D5216F-CE4B-8B47-FCA1-EA9B01BBAD6B}"/>
              </a:ext>
            </a:extLst>
          </p:cNvPr>
          <p:cNvSpPr>
            <a:spLocks noGrp="1"/>
          </p:cNvSpPr>
          <p:nvPr>
            <p:ph type="dgm" sz="quarter" idx="16" hasCustomPrompt="1"/>
          </p:nvPr>
        </p:nvSpPr>
        <p:spPr>
          <a:xfrm>
            <a:off x="4312096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0" name="Highlight line 3">
            <a:extLst>
              <a:ext uri="{FF2B5EF4-FFF2-40B4-BE49-F238E27FC236}">
                <a16:creationId xmlns:a16="http://schemas.microsoft.com/office/drawing/2014/main" id="{945CF969-2B44-5C5F-B1A2-132B74FE4B46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138670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61D1C9E-8438-3A10-53E8-497704D4A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82588"/>
            <a:ext cx="11224347" cy="63817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4080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22DF48-3559-E7A7-D505-A6D3643BC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56AB26-9244-40C1-837D-9189EB7D7925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89C7F-B322-1F93-A5AB-0E322FB93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26D098-604F-1C6E-4D3F-56B3EFAD11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4560AA6-636D-C99A-75CC-1AC2E4A0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2" y="1411289"/>
            <a:ext cx="5610479" cy="4638673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D83AEB6-812D-A880-EAD7-47C376F054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9868" y="0"/>
            <a:ext cx="5842132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88C567-2561-2AD2-63FE-0886450DC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82588"/>
            <a:ext cx="5610477" cy="638175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8" name="SmartArt Placeholder 13">
            <a:extLst>
              <a:ext uri="{FF2B5EF4-FFF2-40B4-BE49-F238E27FC236}">
                <a16:creationId xmlns:a16="http://schemas.microsoft.com/office/drawing/2014/main" id="{22E94658-5E5F-713F-D9E0-D9B1BA7B8DE6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49" name="SmartArt Placeholder 14">
            <a:extLst>
              <a:ext uri="{FF2B5EF4-FFF2-40B4-BE49-F238E27FC236}">
                <a16:creationId xmlns:a16="http://schemas.microsoft.com/office/drawing/2014/main" id="{B9319F0D-BF5B-DAC6-565F-071837332CE2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620180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22DF48-3559-E7A7-D505-A6D3643BC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45D26-DED2-4668-B784-A4925AAE4258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89C7F-B322-1F93-A5AB-0E322FB93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26D098-604F-1C6E-4D3F-56B3EFAD11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4560AA6-636D-C99A-75CC-1AC2E4A0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3" y="1411287"/>
            <a:ext cx="35712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D83AEB6-812D-A880-EAD7-47C376F054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89938" y="0"/>
            <a:ext cx="3802061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4D119AB-28F4-6336-28B6-59438D27F156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4309277" y="1411287"/>
            <a:ext cx="35712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9361665-A619-0AEE-E8F0-5711C79802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82588"/>
            <a:ext cx="7394953" cy="638175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5" name="SmartArt Placeholder 13">
            <a:extLst>
              <a:ext uri="{FF2B5EF4-FFF2-40B4-BE49-F238E27FC236}">
                <a16:creationId xmlns:a16="http://schemas.microsoft.com/office/drawing/2014/main" id="{49F394CB-D44E-05F9-DC08-4647530A14BE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6" name="SmartArt Placeholder 14">
            <a:extLst>
              <a:ext uri="{FF2B5EF4-FFF2-40B4-BE49-F238E27FC236}">
                <a16:creationId xmlns:a16="http://schemas.microsoft.com/office/drawing/2014/main" id="{AF8920BD-6719-DAF4-4B8A-714342782BCB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53601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 descr="A blurry image of a rainbow&#10;&#10;Description automatically generated">
            <a:extLst>
              <a:ext uri="{FF2B5EF4-FFF2-40B4-BE49-F238E27FC236}">
                <a16:creationId xmlns:a16="http://schemas.microsoft.com/office/drawing/2014/main" id="{A2A28331-3A24-BC3F-1B9B-BAB01D3DA0C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-1"/>
            <a:ext cx="12193200" cy="68616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3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12688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39853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4680B-13BD-47C4-9E78-7312BB65F212}" type="datetime3">
              <a:rPr lang="en-US" smtClean="0"/>
              <a:t>28 May 2025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grpSp>
        <p:nvGrpSpPr>
          <p:cNvPr id="9" name="Logo">
            <a:extLst>
              <a:ext uri="{FF2B5EF4-FFF2-40B4-BE49-F238E27FC236}">
                <a16:creationId xmlns:a16="http://schemas.microsoft.com/office/drawing/2014/main" id="{36D36C33-0B8C-8DBD-3F6B-18CF865961F1}"/>
              </a:ext>
            </a:extLst>
          </p:cNvPr>
          <p:cNvGrpSpPr/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DA3CB2D9-CE5B-5012-157D-3AE3DF5D1F33}"/>
                </a:ext>
              </a:extLst>
            </p:cNvPr>
            <p:cNvSpPr/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B023BFD-E84E-29EF-B3C7-7EA579CF4E95}"/>
                </a:ext>
              </a:extLst>
            </p:cNvPr>
            <p:cNvSpPr/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A98FFF98-BC19-88BE-80DE-100A03E1A068}"/>
                </a:ext>
              </a:extLst>
            </p:cNvPr>
            <p:cNvSpPr/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98919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22DF48-3559-E7A7-D505-A6D3643BC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8762F-1922-4AC6-A330-E553077E969A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89C7F-B322-1F93-A5AB-0E322FB93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26D098-604F-1C6E-4D3F-56B3EFAD11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4560AA6-636D-C99A-75CC-1AC2E4A0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3" y="1411287"/>
            <a:ext cx="25488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D83AEB6-812D-A880-EAD7-47C376F054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55113" y="0"/>
            <a:ext cx="3036886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4D119AB-28F4-6336-28B6-59438D27F156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3302078" y="1411287"/>
            <a:ext cx="25488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468690-9C07-32F0-8029-E127A361B770}"/>
              </a:ext>
            </a:extLst>
          </p:cNvPr>
          <p:cNvSpPr>
            <a:spLocks noGrp="1"/>
          </p:cNvSpPr>
          <p:nvPr>
            <p:ph idx="31"/>
          </p:nvPr>
        </p:nvSpPr>
        <p:spPr>
          <a:xfrm>
            <a:off x="6118634" y="1411287"/>
            <a:ext cx="25488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4452E42-0F44-3CC2-78EC-9EE78A1B1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4" y="382588"/>
            <a:ext cx="8181910" cy="63817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6" name="SmartArt Placeholder 13">
            <a:extLst>
              <a:ext uri="{FF2B5EF4-FFF2-40B4-BE49-F238E27FC236}">
                <a16:creationId xmlns:a16="http://schemas.microsoft.com/office/drawing/2014/main" id="{CF452C82-E3A0-D6AB-B0CB-61F9237B6193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7" name="SmartArt Placeholder 14">
            <a:extLst>
              <a:ext uri="{FF2B5EF4-FFF2-40B4-BE49-F238E27FC236}">
                <a16:creationId xmlns:a16="http://schemas.microsoft.com/office/drawing/2014/main" id="{90A9999A-08F8-4E6E-6BC6-EDD880355EAE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11994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82588"/>
            <a:ext cx="11224347" cy="63817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1D20D0-87D3-43C7-AB56-BC9A457BC713}" type="datetime3">
              <a:rPr lang="en-US" smtClean="0"/>
              <a:t>28 May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Media Placeholder 11">
            <a:extLst>
              <a:ext uri="{FF2B5EF4-FFF2-40B4-BE49-F238E27FC236}">
                <a16:creationId xmlns:a16="http://schemas.microsoft.com/office/drawing/2014/main" id="{7AA8680C-DF0E-A59A-1D40-85E5B348B8F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485524" y="1411287"/>
            <a:ext cx="8160263" cy="4638675"/>
          </a:xfrm>
        </p:spPr>
        <p:txBody>
          <a:bodyPr/>
          <a:lstStyle/>
          <a:p>
            <a:r>
              <a:rPr lang="en-GB" dirty="0"/>
              <a:t>Click icon to add media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E85579B-86BF-EE24-023A-9F648CFE07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04632" y="1411287"/>
            <a:ext cx="2805238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6234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82588"/>
            <a:ext cx="11224347" cy="63817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CF299-8B58-4FD6-A01A-49598D9E3F2C}" type="datetime3">
              <a:rPr lang="en-US" smtClean="0"/>
              <a:t>28 May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B7BC80A-0B74-DD25-90D5-7D9F715896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8549" y="201612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F5E5E41-09E4-029C-0E75-C9B547EC8A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8549" y="241934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1A34F1E0-A87C-7178-6538-22253973A91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5523" y="201612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474E37A4-57E6-2CDF-2A5F-3C554861B7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5523" y="1411287"/>
            <a:ext cx="2548800" cy="19612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latin typeface="EYInterstate" panose="02000503020000020004" pitchFamily="2" charset="0"/>
              </a:defRPr>
            </a:lvl1pPr>
          </a:lstStyle>
          <a:p>
            <a:pPr lvl="0"/>
            <a:r>
              <a:rPr lang="en-GB" dirty="0"/>
              <a:t>Team name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116B2E5-B73A-D121-0F3D-AD18A29831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08549" y="302196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EEB861F1-1DCD-AC14-72C5-74E3CBEDCC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08549" y="342518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2AD0FA3F-F163-4A05-299B-BC661CE2D5A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85523" y="302196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5857066-46A9-72C9-EBC1-46A671B0000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08549" y="403542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018DCA9A-F508-544F-26AE-564194DADCB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08549" y="443864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0057E680-F84B-F640-97B3-1574895E5903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85523" y="403542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7A0A840B-4CD0-8E51-0DB8-CAA8C5CE561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08549" y="504126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907FD0F3-2EFB-1048-729B-F8D9C5387E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508549" y="544448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30" name="Picture Placeholder 12">
            <a:extLst>
              <a:ext uri="{FF2B5EF4-FFF2-40B4-BE49-F238E27FC236}">
                <a16:creationId xmlns:a16="http://schemas.microsoft.com/office/drawing/2014/main" id="{8F182A88-FA5D-6BF5-64A4-F27206333D05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85523" y="504126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E55779C-A246-7AA1-1246-32F3BAC3E9F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99994" y="201612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AE906D56-BF94-FEC3-DB85-DEC802C0EDF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99994" y="241934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33" name="Picture Placeholder 12">
            <a:extLst>
              <a:ext uri="{FF2B5EF4-FFF2-40B4-BE49-F238E27FC236}">
                <a16:creationId xmlns:a16="http://schemas.microsoft.com/office/drawing/2014/main" id="{CF08BE99-68E9-C172-4584-192EAC7EBA2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377372" y="201612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61B59087-059A-8552-985C-C458B49492E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77372" y="1411287"/>
            <a:ext cx="2548800" cy="19612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latin typeface="EYInterstate" panose="02000503020000020004" pitchFamily="2" charset="0"/>
              </a:defRPr>
            </a:lvl1pPr>
          </a:lstStyle>
          <a:p>
            <a:pPr lvl="0"/>
            <a:r>
              <a:rPr lang="en-GB" dirty="0"/>
              <a:t>Team name</a:t>
            </a:r>
            <a:endParaRPr lang="en-US" dirty="0"/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B80CEAFC-3F56-53A9-7CA1-6FF2EFEA9F7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99994" y="302196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1F927087-C230-38DF-C1BC-D979647576E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399994" y="342518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E5B079F2-242E-7156-DFAD-AED073123B5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377372" y="302196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BAD8BB7A-C875-E730-22F2-58BF881807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99994" y="403542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428864EC-7BF7-9E3F-14AA-1569F68FDBF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399994" y="443864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40" name="Picture Placeholder 12">
            <a:extLst>
              <a:ext uri="{FF2B5EF4-FFF2-40B4-BE49-F238E27FC236}">
                <a16:creationId xmlns:a16="http://schemas.microsoft.com/office/drawing/2014/main" id="{01784631-4FDE-2C65-08D2-90389B52BB2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3377372" y="403542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0154653D-5642-2E90-794A-C1E075F2C19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399994" y="504126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7B745924-C16B-48BF-AE37-F5CD447BF3B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399994" y="544448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43" name="Picture Placeholder 12">
            <a:extLst>
              <a:ext uri="{FF2B5EF4-FFF2-40B4-BE49-F238E27FC236}">
                <a16:creationId xmlns:a16="http://schemas.microsoft.com/office/drawing/2014/main" id="{4E35CBCD-AFBE-52EA-7BC2-89F29ED83F88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3377372" y="504126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C6A4FD7C-43FE-CC16-4728-179DD98E56D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292514" y="201612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CCC5923F-9079-4223-BD7D-2ECA17762C8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292514" y="241934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46" name="Picture Placeholder 12">
            <a:extLst>
              <a:ext uri="{FF2B5EF4-FFF2-40B4-BE49-F238E27FC236}">
                <a16:creationId xmlns:a16="http://schemas.microsoft.com/office/drawing/2014/main" id="{D730576F-217C-362A-C36F-674299D51B9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269221" y="201612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683AAA8B-B0B9-8676-2816-59B9081C34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269221" y="1411287"/>
            <a:ext cx="2548800" cy="19612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latin typeface="EYInterstate" panose="02000503020000020004" pitchFamily="2" charset="0"/>
              </a:defRPr>
            </a:lvl1pPr>
          </a:lstStyle>
          <a:p>
            <a:pPr lvl="0"/>
            <a:r>
              <a:rPr lang="en-GB" dirty="0"/>
              <a:t>Team name</a:t>
            </a:r>
            <a:endParaRPr lang="en-US" dirty="0"/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66FDE5EC-EECA-8ACE-6501-3066CB7FE8A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292514" y="302196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73D20F87-E90C-42D0-0ED6-6300216BB30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292514" y="342518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50" name="Picture Placeholder 12">
            <a:extLst>
              <a:ext uri="{FF2B5EF4-FFF2-40B4-BE49-F238E27FC236}">
                <a16:creationId xmlns:a16="http://schemas.microsoft.com/office/drawing/2014/main" id="{03693376-1C6C-F15B-897B-29DF694405E9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6269221" y="302196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77461B86-A1F2-292C-BC4A-3A720C40ECF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292514" y="403542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52" name="Text Placeholder 9">
            <a:extLst>
              <a:ext uri="{FF2B5EF4-FFF2-40B4-BE49-F238E27FC236}">
                <a16:creationId xmlns:a16="http://schemas.microsoft.com/office/drawing/2014/main" id="{32236890-E7EA-252D-D7B2-D649918B3AD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292514" y="443864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53" name="Picture Placeholder 12">
            <a:extLst>
              <a:ext uri="{FF2B5EF4-FFF2-40B4-BE49-F238E27FC236}">
                <a16:creationId xmlns:a16="http://schemas.microsoft.com/office/drawing/2014/main" id="{9D7279F8-145F-2BC9-392D-C195932B23E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69221" y="403542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38CC5E8C-843D-F801-E86E-74E733EC4AC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292514" y="504126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55" name="Text Placeholder 9">
            <a:extLst>
              <a:ext uri="{FF2B5EF4-FFF2-40B4-BE49-F238E27FC236}">
                <a16:creationId xmlns:a16="http://schemas.microsoft.com/office/drawing/2014/main" id="{1F5E5E23-4BD8-2BF8-132F-46B1EEF1CE4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292514" y="544448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56" name="Picture Placeholder 12">
            <a:extLst>
              <a:ext uri="{FF2B5EF4-FFF2-40B4-BE49-F238E27FC236}">
                <a16:creationId xmlns:a16="http://schemas.microsoft.com/office/drawing/2014/main" id="{5CD9EB6F-BA12-B7A4-0F8D-EF9271F7223A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6269221" y="504126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23566F37-EF18-0360-14F6-C03B1215951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176432" y="201612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58" name="Text Placeholder 9">
            <a:extLst>
              <a:ext uri="{FF2B5EF4-FFF2-40B4-BE49-F238E27FC236}">
                <a16:creationId xmlns:a16="http://schemas.microsoft.com/office/drawing/2014/main" id="{58D642CD-278F-34F9-CF75-99A7339353C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0176432" y="241934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59" name="Picture Placeholder 12">
            <a:extLst>
              <a:ext uri="{FF2B5EF4-FFF2-40B4-BE49-F238E27FC236}">
                <a16:creationId xmlns:a16="http://schemas.microsoft.com/office/drawing/2014/main" id="{4F6E90F8-DB8A-5E9D-7163-AC30457FEAC0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9161070" y="201612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7435555B-D553-70C9-B67C-5A661E9585C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9161070" y="1411287"/>
            <a:ext cx="2548800" cy="19612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latin typeface="EYInterstate" panose="02000503020000020004" pitchFamily="2" charset="0"/>
              </a:defRPr>
            </a:lvl1pPr>
          </a:lstStyle>
          <a:p>
            <a:pPr lvl="0"/>
            <a:r>
              <a:rPr lang="en-GB" dirty="0"/>
              <a:t>Team name</a:t>
            </a:r>
            <a:endParaRPr lang="en-US" dirty="0"/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5DB8DE5C-79AE-8E49-DC40-B4E1DDB68BA5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0176432" y="302196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289E0F5F-936F-FA54-01D7-5CD0040D07C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0176432" y="342518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63" name="Picture Placeholder 12">
            <a:extLst>
              <a:ext uri="{FF2B5EF4-FFF2-40B4-BE49-F238E27FC236}">
                <a16:creationId xmlns:a16="http://schemas.microsoft.com/office/drawing/2014/main" id="{11FBE638-0595-F8E5-AFBB-43DC12983672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9161070" y="302196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id="{A3352A0C-1A08-FCFC-FF9C-CCA8F22308AE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10176432" y="403542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6E261588-76E1-16B7-8374-3F9A28832EF4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0176432" y="443864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66" name="Picture Placeholder 12">
            <a:extLst>
              <a:ext uri="{FF2B5EF4-FFF2-40B4-BE49-F238E27FC236}">
                <a16:creationId xmlns:a16="http://schemas.microsoft.com/office/drawing/2014/main" id="{CAE85F7E-2BA3-3513-9E8B-8B03FE7AAC4C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9161070" y="403542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67" name="Text Placeholder 9">
            <a:extLst>
              <a:ext uri="{FF2B5EF4-FFF2-40B4-BE49-F238E27FC236}">
                <a16:creationId xmlns:a16="http://schemas.microsoft.com/office/drawing/2014/main" id="{7280094F-B199-060D-4D4B-CA4F1BFCF5F3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10176432" y="504126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253E3C85-558C-05C1-155E-0E52AA94351F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0176432" y="544448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69" name="Picture Placeholder 12">
            <a:extLst>
              <a:ext uri="{FF2B5EF4-FFF2-40B4-BE49-F238E27FC236}">
                <a16:creationId xmlns:a16="http://schemas.microsoft.com/office/drawing/2014/main" id="{E5B87C2C-7F36-6D34-D014-54305471A5A7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9161070" y="504126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70" name="SmartArt Placeholder 7">
            <a:extLst>
              <a:ext uri="{FF2B5EF4-FFF2-40B4-BE49-F238E27FC236}">
                <a16:creationId xmlns:a16="http://schemas.microsoft.com/office/drawing/2014/main" id="{162A8BA6-6F67-C4EB-3430-78F1A0EC0F06}"/>
              </a:ext>
            </a:extLst>
          </p:cNvPr>
          <p:cNvSpPr>
            <a:spLocks noGrp="1"/>
          </p:cNvSpPr>
          <p:nvPr>
            <p:ph type="dgm" sz="quarter" idx="74" hasCustomPrompt="1"/>
          </p:nvPr>
        </p:nvSpPr>
        <p:spPr>
          <a:xfrm>
            <a:off x="485523" y="1696224"/>
            <a:ext cx="2548800" cy="18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71" name="SmartArt Placeholder 7">
            <a:extLst>
              <a:ext uri="{FF2B5EF4-FFF2-40B4-BE49-F238E27FC236}">
                <a16:creationId xmlns:a16="http://schemas.microsoft.com/office/drawing/2014/main" id="{EC5DF0FE-64D1-AB19-CAF1-A390D6492B0D}"/>
              </a:ext>
            </a:extLst>
          </p:cNvPr>
          <p:cNvSpPr>
            <a:spLocks noGrp="1"/>
          </p:cNvSpPr>
          <p:nvPr>
            <p:ph type="dgm" sz="quarter" idx="75" hasCustomPrompt="1"/>
          </p:nvPr>
        </p:nvSpPr>
        <p:spPr>
          <a:xfrm>
            <a:off x="3377372" y="1696224"/>
            <a:ext cx="2548800" cy="18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72" name="SmartArt Placeholder 7">
            <a:extLst>
              <a:ext uri="{FF2B5EF4-FFF2-40B4-BE49-F238E27FC236}">
                <a16:creationId xmlns:a16="http://schemas.microsoft.com/office/drawing/2014/main" id="{60800279-F9E3-EDED-BB35-F73EEF52F830}"/>
              </a:ext>
            </a:extLst>
          </p:cNvPr>
          <p:cNvSpPr>
            <a:spLocks noGrp="1"/>
          </p:cNvSpPr>
          <p:nvPr>
            <p:ph type="dgm" sz="quarter" idx="76" hasCustomPrompt="1"/>
          </p:nvPr>
        </p:nvSpPr>
        <p:spPr>
          <a:xfrm>
            <a:off x="6269221" y="1696224"/>
            <a:ext cx="2548800" cy="18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73" name="SmartArt Placeholder 7">
            <a:extLst>
              <a:ext uri="{FF2B5EF4-FFF2-40B4-BE49-F238E27FC236}">
                <a16:creationId xmlns:a16="http://schemas.microsoft.com/office/drawing/2014/main" id="{1BF95AC1-33EC-C487-C489-B7A97BBB2925}"/>
              </a:ext>
            </a:extLst>
          </p:cNvPr>
          <p:cNvSpPr>
            <a:spLocks noGrp="1"/>
          </p:cNvSpPr>
          <p:nvPr>
            <p:ph type="dgm" sz="quarter" idx="77" hasCustomPrompt="1"/>
          </p:nvPr>
        </p:nvSpPr>
        <p:spPr>
          <a:xfrm>
            <a:off x="9161070" y="1696224"/>
            <a:ext cx="2548800" cy="18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834378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8AE523-7B3C-8783-DFC0-18E1AA2D8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6FD95-0C81-8816-F6A7-13708A804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B417B-4323-4856-98C1-8DDEB72BE131}" type="datetime3">
              <a:rPr lang="en-US" smtClean="0"/>
              <a:t>28 May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B0C7E-A414-4EA6-7DAD-5068A7AE4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298F4-310D-68C0-AA7E-8C7FA83AB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2907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rry image of a rainbow&#10;&#10;Description automatically generated">
            <a:extLst>
              <a:ext uri="{FF2B5EF4-FFF2-40B4-BE49-F238E27FC236}">
                <a16:creationId xmlns:a16="http://schemas.microsoft.com/office/drawing/2014/main" id="{317BE7A3-A673-B58A-8BE4-D36A0E590D3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3D8D2553-DCAF-2D9D-2138-FE4E794B7FFA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97" name="Freeform 296">
              <a:extLst>
                <a:ext uri="{FF2B5EF4-FFF2-40B4-BE49-F238E27FC236}">
                  <a16:creationId xmlns:a16="http://schemas.microsoft.com/office/drawing/2014/main" id="{AD4E5D8B-12B4-19F3-17D4-D12BF368FC85}"/>
                </a:ext>
              </a:extLst>
            </p:cNvPr>
            <p:cNvSpPr/>
            <p:nvPr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" name="Freeform 297">
              <a:extLst>
                <a:ext uri="{FF2B5EF4-FFF2-40B4-BE49-F238E27FC236}">
                  <a16:creationId xmlns:a16="http://schemas.microsoft.com/office/drawing/2014/main" id="{219789D6-6B07-F2E6-06BE-8CA9DC83E385}"/>
                </a:ext>
              </a:extLst>
            </p:cNvPr>
            <p:cNvSpPr/>
            <p:nvPr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767D4D9-A47B-4020-6B9B-87B081166C85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99" name="Freeform 298">
              <a:extLst>
                <a:ext uri="{FF2B5EF4-FFF2-40B4-BE49-F238E27FC236}">
                  <a16:creationId xmlns:a16="http://schemas.microsoft.com/office/drawing/2014/main" id="{70589FC3-4491-BD75-2C16-660DF0B71BBC}"/>
                </a:ext>
              </a:extLst>
            </p:cNvPr>
            <p:cNvSpPr/>
            <p:nvPr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Freeform 292">
              <a:extLst>
                <a:ext uri="{FF2B5EF4-FFF2-40B4-BE49-F238E27FC236}">
                  <a16:creationId xmlns:a16="http://schemas.microsoft.com/office/drawing/2014/main" id="{B00DB918-F11D-F855-5478-ECB25A1AC3D1}"/>
                </a:ext>
              </a:extLst>
            </p:cNvPr>
            <p:cNvSpPr/>
            <p:nvPr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sp>
        <p:nvSpPr>
          <p:cNvPr id="274" name="Subtitle 2">
            <a:extLst>
              <a:ext uri="{FF2B5EF4-FFF2-40B4-BE49-F238E27FC236}">
                <a16:creationId xmlns:a16="http://schemas.microsoft.com/office/drawing/2014/main" id="{74103396-CF0A-A808-BF1B-463C3EF737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>
                <a:latin typeface="EYInterstate" panose="0200050302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75" name="Title 4">
            <a:extLst>
              <a:ext uri="{FF2B5EF4-FFF2-40B4-BE49-F238E27FC236}">
                <a16:creationId xmlns:a16="http://schemas.microsoft.com/office/drawing/2014/main" id="{B57CD4DB-AED0-4F7E-41BA-02CA96598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89" name="Text Placeholder 288">
            <a:extLst>
              <a:ext uri="{FF2B5EF4-FFF2-40B4-BE49-F238E27FC236}">
                <a16:creationId xmlns:a16="http://schemas.microsoft.com/office/drawing/2014/main" id="{31D45A6D-135C-8C27-4F13-A3BC79AB3E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FA35A17-6E72-5D10-337D-87AD82CF516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D8B71BF-2CD6-B365-4402-A8FF831788C7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A718681-C140-C687-56FE-5B74AAC28F64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5F880BD-E431-2A19-D56A-8B37360C1C20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580675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right light in the dark&#10;&#10;Description automatically generated">
            <a:extLst>
              <a:ext uri="{FF2B5EF4-FFF2-40B4-BE49-F238E27FC236}">
                <a16:creationId xmlns:a16="http://schemas.microsoft.com/office/drawing/2014/main" id="{963FEC0B-473D-E3B8-1E1E-E29DFA66AD1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FB16D98-C784-FAB9-BCBC-EA53480E5BA8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788DF65-E85A-7EA9-F2BB-B439D5C7EB16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DB6421F7-1BA7-70C3-4C7B-0694CD3F9A6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0E8BD61-2DD9-6340-EB16-98CFEA0A221D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4038A11-FAB8-DE3A-2D5D-3D1F11925688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FD45E8E5-E623-933A-074B-D3B9860ABECB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4CE2B77E-5DDA-CC5C-A575-69779E5794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2C2EB3B4-62C2-DB27-F905-7B5310DF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41B1F747-977A-C01C-9182-B92C691E57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A5EC877-2F2D-B87F-413C-A62960EC670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DE00CEB3-70C1-B84B-69F4-47C6239A963C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B1A4559-3046-DB7C-170D-8B5BA7C09322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32AF557-95D5-C3A7-8762-30EB758F1305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963028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76F31E31-25A6-21A9-5DF2-0E1AA48A3DF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195E5ED2-D1BB-AC6E-BF6A-D4BD239F1FE9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1D43938-5757-1C8A-B3BA-59EC353FB68E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05E7332-D2DE-8669-0AEC-5A2A6ABEC83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E9C3B74-7F38-B0AE-8CDD-386F5F93EBDC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BFAD6BB-BE7F-B979-02B7-6642DECA997E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AEBAC9C-4DEF-0172-39AF-392FB46391DA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279079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Yellow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 descr="Vista de una ciudad desde lo alto de un cuerpo de agua&#10;&#10;El contenido generado por IA puede ser incorrecto.">
            <a:extLst>
              <a:ext uri="{FF2B5EF4-FFF2-40B4-BE49-F238E27FC236}">
                <a16:creationId xmlns:a16="http://schemas.microsoft.com/office/drawing/2014/main" id="{BF08CD16-118D-4D17-EA58-2E03478DCA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546"/>
          <a:stretch/>
        </p:blipFill>
        <p:spPr>
          <a:xfrm>
            <a:off x="-8096" y="-99392"/>
            <a:ext cx="12199164" cy="695739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D5BBB5A-0446-3C14-B12C-56A5730E1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99392"/>
            <a:ext cx="8386354" cy="695739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4EF81A0-CB40-42B3-5E1A-AA5D72BFB4DD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C1D2CA-2DB1-76BC-DAFE-210631AEC288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F198833-5BF3-BB5E-C3B2-7B705558D02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2DC9F8E-6F8C-AF4A-9D84-4AD1502BB512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7C135C3-9109-7FAF-7A1E-C1697A8F5581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7CB01A6-453C-E086-340E-1FA1E3E1B1A3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2006675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Wri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36FA399-654A-7130-1FF0-0F0197A98C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38649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1272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3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44759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B01B256-70C6-9663-9CC6-1F22ADBAE7C3}"/>
              </a:ext>
            </a:extLst>
          </p:cNvPr>
          <p:cNvGrpSpPr/>
          <p:nvPr userDrawn="1"/>
        </p:nvGrpSpPr>
        <p:grpSpPr>
          <a:xfrm>
            <a:off x="485774" y="719508"/>
            <a:ext cx="5706110" cy="4360545"/>
            <a:chOff x="485774" y="719508"/>
            <a:chExt cx="5706110" cy="4360545"/>
          </a:xfrm>
        </p:grpSpPr>
        <p:sp>
          <p:nvSpPr>
            <p:cNvPr id="10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49784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7195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EEB2775D-C14D-1FFE-E3E9-4E62DDA32301}"/>
              </a:ext>
            </a:extLst>
          </p:cNvPr>
          <p:cNvSpPr txBox="1"/>
          <p:nvPr userDrawn="1"/>
        </p:nvSpPr>
        <p:spPr>
          <a:xfrm>
            <a:off x="461984" y="5552404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FAE2F50B-78AF-04F3-4BFF-980630AF7A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5966393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5473ED8-C1F4-379D-AE01-5E7A3D5F34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16401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8" name="Picture Placeholder 19">
            <a:extLst>
              <a:ext uri="{FF2B5EF4-FFF2-40B4-BE49-F238E27FC236}">
                <a16:creationId xmlns:a16="http://schemas.microsoft.com/office/drawing/2014/main" id="{812BC08D-D0F7-900D-1481-4C172F6BE5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61846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25B130A-4E65-32BD-4CB8-C7E2B623FD74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56264"/>
            <a:ext cx="8122101" cy="0"/>
          </a:xfrm>
          <a:prstGeom prst="line">
            <a:avLst/>
          </a:prstGeom>
          <a:ln w="9525" cap="flat" cmpd="sng" algn="ctr">
            <a:solidFill>
              <a:srgbClr val="C4C4C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A6E3CB0E-CBF5-F5C6-CBEB-87739E77EC6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AE86F64B-08DB-E5D4-B2AA-6649ABAD8123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1B14B79-79B7-68CD-1151-6FCC77898E68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ACAAE5A-2AFE-71BF-47E0-9339A3B83489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306455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713817A-1A0E-6215-C86F-711F67622A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167EEE6-F985-2112-F3A8-85F1A04A37BD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66D7E4E-2A81-A5AB-16CA-DBCEFBD59141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7AEBF90-6B4E-C743-2098-786F67C750D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0C9C1757-8C94-A6AF-A3BA-BBD03B3D52CA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A6AE5F3-3050-E5BF-9762-F46B3D60EEC1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D23A643-B30A-6BB1-47DB-C281B5429370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799404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ackground" descr="A colorful light in the dark&#10;&#10;Description automatically generated">
            <a:extLst>
              <a:ext uri="{FF2B5EF4-FFF2-40B4-BE49-F238E27FC236}">
                <a16:creationId xmlns:a16="http://schemas.microsoft.com/office/drawing/2014/main" id="{B01642D7-4E4F-867F-08FE-F5B7458A38C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auto">
          <a:xfrm>
            <a:off x="485523" y="1411287"/>
            <a:ext cx="3571200" cy="4638675"/>
          </a:xfrm>
          <a:solidFill>
            <a:srgbClr val="2E2E38">
              <a:alpha val="60000"/>
            </a:srgb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dirty="0"/>
              <a:t>Only one highlight line should appear. Delete the other two lines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auto">
          <a:xfrm>
            <a:off x="4312096" y="1411287"/>
            <a:ext cx="3571200" cy="4638675"/>
          </a:xfrm>
          <a:solidFill>
            <a:srgbClr val="2E2E38">
              <a:alpha val="60000"/>
            </a:srgb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dirty="0"/>
              <a:t>Only one highlight line should appear. Delete the other two lines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auto">
          <a:xfrm>
            <a:off x="8138670" y="1411287"/>
            <a:ext cx="3571200" cy="4638675"/>
          </a:xfrm>
          <a:solidFill>
            <a:srgbClr val="2E2E38">
              <a:alpha val="60000"/>
            </a:srgb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dirty="0"/>
              <a:t>Only one highlight line should appear. Delete the other two lines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 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Date Placeholder 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5C153E-9DAF-49F2-BDFF-91687879F583}" type="datetime3">
              <a:rPr lang="en-US" smtClean="0"/>
              <a:t>28 May 2025</a:t>
            </a:fld>
            <a:endParaRPr lang="en-US"/>
          </a:p>
        </p:txBody>
      </p:sp>
      <p:sp>
        <p:nvSpPr>
          <p:cNvPr id="5" name="Footer Placeholder 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8" name="Highlight line 1">
            <a:extLst>
              <a:ext uri="{FF2B5EF4-FFF2-40B4-BE49-F238E27FC236}">
                <a16:creationId xmlns:a16="http://schemas.microsoft.com/office/drawing/2014/main" id="{E1FBA9F5-4E1E-7157-650F-920396E6BD16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485775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9" name="Highlight line 2">
            <a:extLst>
              <a:ext uri="{FF2B5EF4-FFF2-40B4-BE49-F238E27FC236}">
                <a16:creationId xmlns:a16="http://schemas.microsoft.com/office/drawing/2014/main" id="{F0D5216F-CE4B-8B47-FCA1-EA9B01BBAD6B}"/>
              </a:ext>
            </a:extLst>
          </p:cNvPr>
          <p:cNvSpPr>
            <a:spLocks noGrp="1"/>
          </p:cNvSpPr>
          <p:nvPr>
            <p:ph type="dgm" sz="quarter" idx="16" hasCustomPrompt="1"/>
          </p:nvPr>
        </p:nvSpPr>
        <p:spPr>
          <a:xfrm>
            <a:off x="4312096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0" name="Highlight line 3">
            <a:extLst>
              <a:ext uri="{FF2B5EF4-FFF2-40B4-BE49-F238E27FC236}">
                <a16:creationId xmlns:a16="http://schemas.microsoft.com/office/drawing/2014/main" id="{945CF969-2B44-5C5F-B1A2-132B74FE4B46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139851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grpSp>
        <p:nvGrpSpPr>
          <p:cNvPr id="17" name="Logo">
            <a:extLst>
              <a:ext uri="{FF2B5EF4-FFF2-40B4-BE49-F238E27FC236}">
                <a16:creationId xmlns:a16="http://schemas.microsoft.com/office/drawing/2014/main" id="{EC0BFB89-FAB5-160D-D6E7-673C72C630D5}"/>
              </a:ext>
            </a:extLst>
          </p:cNvPr>
          <p:cNvGrpSpPr/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49E0C4E9-31F6-3AD8-056E-81A5BE6A3E4C}"/>
                </a:ext>
              </a:extLst>
            </p:cNvPr>
            <p:cNvSpPr/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290A4FFE-C215-2C91-4D46-32D31805E46C}"/>
                </a:ext>
              </a:extLst>
            </p:cNvPr>
            <p:cNvSpPr/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7E3BFB0A-D692-C730-136A-21B4EBAA94EC}"/>
                </a:ext>
              </a:extLst>
            </p:cNvPr>
            <p:cNvSpPr/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02664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7B25F44-CAE3-AE0B-B97B-B0F6E4B43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E7E8938-439A-DB5B-B3DF-7EF202013D57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A067759-C6C3-3B7B-ABF5-859A6A63528E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C99724B-50FD-5B78-B6B7-D645073026A7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FEC4647-A297-6D44-253F-7CB799E4195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6077FE96-06E1-764F-EF1D-227F096A7207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EB8010C-6DC5-5ED2-865B-9ECC10B1F52E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E8B4FD0-7989-32A2-2C2D-B98F2CA72ACD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530665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D8D4830-1AF6-9C3D-EC53-70FC3C7CB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8BA944B-A631-ACF6-36AE-7C814C7A5C9A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1B984E4-95BA-5123-1CFC-48CE97FD8196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" name="Freeform 1">
              <a:extLst>
                <a:ext uri="{FF2B5EF4-FFF2-40B4-BE49-F238E27FC236}">
                  <a16:creationId xmlns:a16="http://schemas.microsoft.com/office/drawing/2014/main" id="{63327741-8A1F-B922-5F7C-0313A67883A4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C06C001-67C6-86C4-D219-6D9FF2EE00C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67864A79-9397-C095-6A60-037405E99933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349A99C1-F5EA-E9BD-DDAD-6B8B04AA2AB0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794E93B-1732-5AE8-2F55-692D141C96CF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903467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2D7BB4A-5FCC-BE0E-4598-A4CBBA847A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DE89320-B084-3AA1-F041-ECD9699F7EF4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76002E9-E0C8-43F6-867E-B59C9AE9217B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00C864"/>
                </a:gs>
                <a:gs pos="100000">
                  <a:srgbClr val="4696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D6D404D-3B24-C700-DA68-CAC99436C4D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1AC5912-E51B-95BC-8C66-553238217429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9CD55CF-CF31-502D-7730-391827138A2F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17F457C-720D-E922-F11E-103B461D0764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928389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CF5E0C7-6CC4-C4E1-946D-4BAC78CCDA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2E27567-DFCD-709F-AF40-B7A340ECC0FE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C690EE-1BB8-29C6-B9D8-2BD7B4AE0781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32FF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8799DD5-A107-F05E-1B17-E91A1549387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51E304F-8F78-3B87-4D90-A4CD04AD740A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0ED5AB1-67B1-EB7E-24B6-6CE9AFD24441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5218930-F485-F944-970D-2DD7F653BEDF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820680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71B9AAE-F698-5F49-FF7D-DB273B1EE1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0068369-6C63-44AF-3E4E-30E5F2D1F837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F7E7875-967C-8167-6219-7AD2981B3A46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32FF"/>
                </a:gs>
                <a:gs pos="100000">
                  <a:srgbClr val="E95023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E8C9C312-F6C2-0463-D74A-A17E895A20A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807442E-6BC7-A4A5-0BEA-D4E13D6ED37F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9A8D832-F8A5-B928-BD29-D49AC2218B7C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9768C3F-9B6D-90AA-9F71-E2AE10CDE47C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905337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EAFCAD8-0916-AF46-1471-030E4128E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A89752D-8E95-B790-7077-E6201AB412C3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6FD7948-9E7C-1CE1-F28B-D2D349BB86F0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C5FD45"/>
                </a:gs>
                <a:gs pos="100000">
                  <a:srgbClr val="80FBFD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227FA85-BD8B-B10F-506C-988BB7ED6E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25F022C-3DD7-CE54-3F41-B2A9FD83FDF1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3B4BDBD-6FF3-6330-ADF8-EDC185F44AE9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2E5D71A-BC9C-E69D-9D59-9AA8924027F8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72039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388CF986-E6D2-86D0-6501-D59429EAD0A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dirty="0"/>
              <a:t>Chapter 00</a:t>
            </a:r>
            <a:endParaRPr lang="en-US" dirty="0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B4372B3-E211-F19D-CBD9-6CEDF871BD0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CFB888F-6783-4B6F-B43A-B64950462B56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3173B02-1E93-D358-4602-350A7447C7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5E3423F-0FF8-8E54-CEB8-1F15261AFD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D3CF5FC1-8EBA-8F68-D0E5-727D21919C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AE5FDF1F-8E3A-FB66-7C81-266601DA400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91C765C7-1DD0-DFBB-9089-29849D42BA8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0B43463-538D-A50A-4299-A6C5A973766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15969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ADC82D1B-1943-B3BC-B7E9-DADF1458A76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dirty="0"/>
              <a:t>Chapter 00</a:t>
            </a:r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F04263E-9F32-7609-1152-7E305FEBE7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82490CA-64AB-4FF2-AD91-5CA8C52C0E20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F7F02905-9FFE-65B7-8565-3E827BBAEC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10BD8AE-BB2B-B523-1D74-4E8DBE210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6C50EF9C-A411-B76F-4417-55EA0CDCAD2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5CE13AFD-214E-24E8-0633-0508635B5C0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88E5DF2-C2EC-705B-7734-81A5ACCECEC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2EF38C94-0C58-F9C8-0963-86769B7977B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077842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A6C92DE9-1F7F-6A8E-389D-FBCE38254AD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dirty="0"/>
              <a:t>Chapter 00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80F9161-0A5B-9390-AAC5-925D1AE2AA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DFFE949A-6E9F-DCCB-3981-444F818B70A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E874CEB-2D3F-A7FC-68BB-B1E5B73F85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BE24A05-3707-8B71-381D-4FC6EE679AF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EF9B997-BE91-43C4-F809-E78685E578A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818746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rainbow&#10;&#10;Description automatically generated">
            <a:extLst>
              <a:ext uri="{FF2B5EF4-FFF2-40B4-BE49-F238E27FC236}">
                <a16:creationId xmlns:a16="http://schemas.microsoft.com/office/drawing/2014/main" id="{C8E8709F-6A78-59BB-D254-AE4C7F2A57D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dirty="0"/>
              <a:t>Chapter 00</a:t>
            </a:r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A3F83A6-1D48-7A59-F89B-1AD446292A9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0B5ACD2-8252-41FC-9E5C-AEC3F4579D8E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7E103D91-874B-B49F-B9D9-85F52EAD81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C95BFB4-BABD-DFFF-43A5-9ABB8A6638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798A70C5-9B3E-7941-E067-8A9791BCF2D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FF0F4F06-C9A4-A997-AB67-59B717C1376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D63C193D-825D-B7A7-F2EF-F53A601001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44996D9C-EDDB-9A0C-B93D-E5808F8C79D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7124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right yellow circle&#10;&#10;Description automatically generated with medium confidence">
            <a:extLst>
              <a:ext uri="{FF2B5EF4-FFF2-40B4-BE49-F238E27FC236}">
                <a16:creationId xmlns:a16="http://schemas.microsoft.com/office/drawing/2014/main" id="{0CE0EE1C-69FD-A2A1-0E47-EEBF86AA51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22DF48-3559-E7A7-D505-A6D3643BC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14682-16D2-4DDF-B2E4-906651768A9F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89C7F-B322-1F93-A5AB-0E322FB93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26D098-604F-1C6E-4D3F-56B3EFAD11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4560AA6-636D-C99A-75CC-1AC2E4A0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2" y="2016125"/>
            <a:ext cx="5610479" cy="4033837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D83AEB6-812D-A880-EAD7-47C376F054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9868" y="0"/>
            <a:ext cx="5842132" cy="6858000"/>
          </a:xfrm>
        </p:spPr>
        <p:txBody>
          <a:bodyPr/>
          <a:lstStyle/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097C4A53-D484-0A91-32DE-DC7DFBC6D5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9"/>
            <a:ext cx="5610479" cy="105747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9" name="SmartArt Placeholder 13">
            <a:extLst>
              <a:ext uri="{FF2B5EF4-FFF2-40B4-BE49-F238E27FC236}">
                <a16:creationId xmlns:a16="http://schemas.microsoft.com/office/drawing/2014/main" id="{7CC7DD02-31B9-871B-D392-67044008A7C6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7" name="SmartArt Placeholder 14">
            <a:extLst>
              <a:ext uri="{FF2B5EF4-FFF2-40B4-BE49-F238E27FC236}">
                <a16:creationId xmlns:a16="http://schemas.microsoft.com/office/drawing/2014/main" id="{F8BC9449-6E17-FDE5-FA92-7342C909AE74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25355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9B1A0959-0F7F-FF84-F8C5-2E76E9D45F4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dirty="0"/>
              <a:t>Chapter 00</a:t>
            </a:r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A7D0729-64C3-47D5-8191-1A5E13E79DD2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2CBC4E2-6D56-5589-38B7-123BB8BE748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A8D992E6-EAE7-83CF-5B22-7C7DCDB38DC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DDA26C30-C61D-FE6C-E1DC-6A89E2511A9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69AE1E0B-DC05-6DB6-F457-D229556B4C4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162139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rry image of a rainbow&#10;&#10;Description automatically generated">
            <a:extLst>
              <a:ext uri="{FF2B5EF4-FFF2-40B4-BE49-F238E27FC236}">
                <a16:creationId xmlns:a16="http://schemas.microsoft.com/office/drawing/2014/main" id="{36630E4E-7F64-A84B-6022-F16994E9537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305361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21692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5000"/>
              </a:lnSpc>
              <a:spcAft>
                <a:spcPts val="0"/>
              </a:spcAft>
              <a:buNone/>
              <a:defRPr kumimoji="0" lang="en-US" sz="16600" b="1" i="0" u="none" strike="noStrike" kern="1200" cap="none" spc="0" normalizeH="0" baseline="0" dirty="0">
                <a:ln>
                  <a:noFill/>
                </a:ln>
                <a:solidFill>
                  <a:srgbClr val="747480">
                    <a:alpha val="50000"/>
                  </a:srgbClr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00</a:t>
            </a:r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44AD132-ED4C-4F2D-A40A-BF96E17D1743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2D79ED6-4894-2B8B-D862-974AC88E705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F6B658B-99C5-075E-8FBB-F68A5010C40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D5FE3CF-44B0-DC6A-D098-1142A9EF999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0B46547D-1401-03DA-C2CC-733F034C790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4270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rry image of a rainbow&#10;&#10;Description automatically generated">
            <a:extLst>
              <a:ext uri="{FF2B5EF4-FFF2-40B4-BE49-F238E27FC236}">
                <a16:creationId xmlns:a16="http://schemas.microsoft.com/office/drawing/2014/main" id="{0CF60EBF-BB0E-A13F-6F1D-8E03C5FC39A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30FFC6-DEA1-5FCD-0ABD-350186ADB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523" y="369888"/>
            <a:ext cx="3314701" cy="470898"/>
          </a:xfrm>
        </p:spPr>
        <p:txBody>
          <a:bodyPr/>
          <a:lstStyle/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8AEA00-448F-1217-B10E-ABF6D402B4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5775" y="1411287"/>
            <a:ext cx="5099050" cy="4638675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Introduction text goes here and delete the bullet if not required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6B67F104-BCCD-4057-9F3C-70C29E057A5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AC7752E-6DD5-4E64-89F7-F695A00D1E7D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880D4C2-A728-3810-8EAF-6AC78A949B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4CB206C2-DFD0-9033-25AE-68BCB50C193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A244641-8AF5-E5A2-18FB-105E0DDC42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9647" y="1411287"/>
            <a:ext cx="5610225" cy="4638675"/>
          </a:xfrm>
        </p:spPr>
        <p:txBody>
          <a:bodyPr/>
          <a:lstStyle>
            <a:lvl1pPr marL="457200" indent="-457200">
              <a:buFont typeface="+mj-lt"/>
              <a:buAutoNum type="arabicPeriod"/>
              <a:defRPr sz="1800"/>
            </a:lvl1pPr>
            <a:lvl2pPr marL="914400" indent="-457200">
              <a:defRPr sz="1600"/>
            </a:lvl2pPr>
            <a:lvl3pPr marL="914400" indent="-457200">
              <a:defRPr sz="1600"/>
            </a:lvl3pPr>
            <a:lvl4pPr marL="914400" indent="-457200">
              <a:defRPr sz="1400"/>
            </a:lvl4pPr>
            <a:lvl5pPr marL="914400" indent="-457200">
              <a:defRPr sz="1400"/>
            </a:lvl5pPr>
          </a:lstStyle>
          <a:p>
            <a:pPr lvl="0"/>
            <a:r>
              <a:rPr lang="en-IN" dirty="0"/>
              <a:t>Section header goes here and to insert page numbers use the tab button on the keyboard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6A947DDB-75DB-76B2-ADC5-D93B38D418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777A9F83-CB8D-4479-6968-8B47D931EEB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6B1C04DF-19FD-1D5D-56C9-211BF50EB23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297F736-140F-E853-3848-EA573A1B3C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42989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right light in the dark&#10;&#10;Description automatically generated">
            <a:extLst>
              <a:ext uri="{FF2B5EF4-FFF2-40B4-BE49-F238E27FC236}">
                <a16:creationId xmlns:a16="http://schemas.microsoft.com/office/drawing/2014/main" id="{C6893964-B096-BBF5-42BC-1EAE055022B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B9199D71-1BDD-2925-CD92-9B0B3F8439E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56521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 dirty="0"/>
              <a:t>0</a:t>
            </a:r>
            <a:endParaRPr lang="en-US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8391354-FDE4-DE4D-8084-A61467B9F4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 flipH="1">
            <a:off x="2845421" y="3642518"/>
            <a:ext cx="178560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 dirty="0"/>
              <a:t>Agenda text goes here and delete the bullet if not required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F575A1BC-5BD6-1793-C917-0720FC3DE98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16419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 dirty="0"/>
              <a:t>0</a:t>
            </a:r>
            <a:endParaRPr lang="en-US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CBCE1B-3F39-C7B5-CCE2-AE84242E77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flipH="1">
            <a:off x="5205319" y="3642518"/>
            <a:ext cx="178560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 dirty="0"/>
              <a:t>Agenda text goes here and delete the bullet if not required</a:t>
            </a:r>
            <a:endParaRPr lang="en-US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14015C2-B8E4-B890-4CD0-F6A3A2052CA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65217" y="3642518"/>
            <a:ext cx="178560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 dirty="0"/>
              <a:t>Agenda text goes here and delete the bullet if not required</a:t>
            </a:r>
            <a:endParaRPr lang="en-US" dirty="0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37959C9A-F406-FB92-6FFF-08F42234CF9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836214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 dirty="0"/>
              <a:t>0</a:t>
            </a:r>
            <a:endParaRPr lang="en-US" dirty="0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BC6A6256-32C1-F83C-4A32-D674785CF1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925114" y="3642518"/>
            <a:ext cx="178560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 dirty="0"/>
              <a:t>Agenda text goes here and delete the bullet if not required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0A2165-CDB3-28AA-F42A-E5E3D72C14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623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 dirty="0"/>
              <a:t>0</a:t>
            </a:r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78D4931-12A7-7D80-F380-EDF6BE10CA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5523" y="3642518"/>
            <a:ext cx="178560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 dirty="0"/>
              <a:t>Agenda text goes here and delete the bullet if not required</a:t>
            </a:r>
            <a:endParaRPr lang="en-US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8D52684-7A0E-2BDF-C56C-F721FED04E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76317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 dirty="0"/>
              <a:t>0</a:t>
            </a:r>
            <a:endParaRPr lang="en-US" dirty="0"/>
          </a:p>
        </p:txBody>
      </p:sp>
      <p:sp>
        <p:nvSpPr>
          <p:cNvPr id="36" name="SmartArt Placeholder 35">
            <a:extLst>
              <a:ext uri="{FF2B5EF4-FFF2-40B4-BE49-F238E27FC236}">
                <a16:creationId xmlns:a16="http://schemas.microsoft.com/office/drawing/2014/main" id="{6D23DAA3-59C7-A352-8728-D157F22D25EF}"/>
              </a:ext>
            </a:extLst>
          </p:cNvPr>
          <p:cNvSpPr>
            <a:spLocks noGrp="1"/>
          </p:cNvSpPr>
          <p:nvPr>
            <p:ph type="dgm" sz="quarter" idx="36" hasCustomPrompt="1"/>
          </p:nvPr>
        </p:nvSpPr>
        <p:spPr>
          <a:xfrm>
            <a:off x="2556050" y="2020781"/>
            <a:ext cx="3600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7" name="SmartArt Placeholder 35">
            <a:extLst>
              <a:ext uri="{FF2B5EF4-FFF2-40B4-BE49-F238E27FC236}">
                <a16:creationId xmlns:a16="http://schemas.microsoft.com/office/drawing/2014/main" id="{D33DFC67-321E-4CFE-436A-CF6FA96BA7E4}"/>
              </a:ext>
            </a:extLst>
          </p:cNvPr>
          <p:cNvSpPr>
            <a:spLocks noGrp="1"/>
          </p:cNvSpPr>
          <p:nvPr>
            <p:ph type="dgm" sz="quarter" idx="37" hasCustomPrompt="1"/>
          </p:nvPr>
        </p:nvSpPr>
        <p:spPr>
          <a:xfrm flipH="1">
            <a:off x="4915948" y="2020781"/>
            <a:ext cx="3600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8" name="SmartArt Placeholder 35">
            <a:extLst>
              <a:ext uri="{FF2B5EF4-FFF2-40B4-BE49-F238E27FC236}">
                <a16:creationId xmlns:a16="http://schemas.microsoft.com/office/drawing/2014/main" id="{A43CB924-4778-AEB3-1D6C-5B802CD043B0}"/>
              </a:ext>
            </a:extLst>
          </p:cNvPr>
          <p:cNvSpPr>
            <a:spLocks noGrp="1"/>
          </p:cNvSpPr>
          <p:nvPr>
            <p:ph type="dgm" sz="quarter" idx="38" hasCustomPrompt="1"/>
          </p:nvPr>
        </p:nvSpPr>
        <p:spPr>
          <a:xfrm>
            <a:off x="7275846" y="2020781"/>
            <a:ext cx="3600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9" name="SmartArt Placeholder 35">
            <a:extLst>
              <a:ext uri="{FF2B5EF4-FFF2-40B4-BE49-F238E27FC236}">
                <a16:creationId xmlns:a16="http://schemas.microsoft.com/office/drawing/2014/main" id="{225723D6-9330-76F1-3F3B-6A582AC1C154}"/>
              </a:ext>
            </a:extLst>
          </p:cNvPr>
          <p:cNvSpPr>
            <a:spLocks noGrp="1"/>
          </p:cNvSpPr>
          <p:nvPr>
            <p:ph type="dgm" sz="quarter" idx="39" hasCustomPrompt="1"/>
          </p:nvPr>
        </p:nvSpPr>
        <p:spPr>
          <a:xfrm>
            <a:off x="9635744" y="2020781"/>
            <a:ext cx="3600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019C0555-55BD-32D2-B375-0C0BC6641F54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41DBD4B0-EFC0-4DF1-A23C-A7A8E6C9EFD8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AA8F600-C044-B2C2-407F-BE157F6651C1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4E7CD09-1595-ACE1-D22D-0DB2944898EF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C73356B1-351A-A1D6-028F-C9736D731FF3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EE1F1DF-83E2-9910-8487-D0B14E0DA52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86EFBE9B-F67C-6359-549F-FC22A1C483D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CAEDED04-6A1F-9E39-1C85-4BA396FAFF1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982410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C39DD3F9-9341-288C-0536-DED981D0E40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5774" y="1411287"/>
            <a:ext cx="11218863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2006E5E-EB55-C43F-A9B4-8DABEB5C23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C9323D1-9A80-4F57-A33C-00CD02E56F39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45F7D0D-6905-1D3D-D30A-EBA5E1125C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7363F73-563F-BF23-4175-916ADF6ADD1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05920F1D-0D06-535C-A00E-C9CA8D25274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8A16D72-94EE-8CC0-084C-EB87F8781A1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E0BB2990-3047-821E-17D7-0DDDFF6CB30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3AEE2A3-1722-B883-C7FC-01A81806B29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85019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BFF9BC5C-A44C-B902-3ACE-C29AC4CE3E4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5774" y="1411287"/>
            <a:ext cx="11218863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81B29507-2BB1-EC71-EE9B-8A9EE3F01E0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92310A2-1DB4-4690-A6E4-0348D6C95970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046374F-F6C3-5157-DBE0-F11F0D83F9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C71B9A51-27B6-2F80-3AE9-7FB1599561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2C0D9E54-A379-A966-154D-4362D29B3307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19CE3A53-E53C-AAAA-CD1C-C8F1C56FA3B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3FDBF06-36FA-A0E2-B3E6-78DF2439777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584168FE-6E03-EFEE-BF63-87C62DF46A2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92374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and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6086DA-FAB4-D672-5D3E-0B069D2B24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BA46848-8969-3428-7E66-3827EB17DC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4959" y="4980757"/>
            <a:ext cx="3445104" cy="1938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8B5CC24-699C-7858-0807-40619F0D53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961" y="5184857"/>
            <a:ext cx="3445104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DFFEAF1E-587A-2BBD-24CD-BAC3592390EE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80AE4CF2-41F8-4416-9ECE-68501092381A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7C22E0FE-1715-0380-EFE7-5D520713B07F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5820BCA4-5D74-8EE6-4914-C7C86F87E3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E82A0447-0820-5F05-7D32-3BE15F19486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2884" y="358916"/>
            <a:ext cx="2023892" cy="1419083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9200" b="0" i="0">
                <a:solidFill>
                  <a:schemeClr val="tx2"/>
                </a:solidFill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 dirty="0"/>
              <a:t>“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8A771E8A-8B2A-ED69-3AEC-E5AEDB16F0E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4959" y="1958113"/>
            <a:ext cx="7524979" cy="2721927"/>
          </a:xfrm>
        </p:spPr>
        <p:txBody>
          <a:bodyPr/>
          <a:lstStyle>
            <a:lvl1pPr marL="0" indent="0">
              <a:buNone/>
              <a:defRPr sz="4800" b="0" i="0"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 dirty="0"/>
              <a:t>Quote goes here.</a:t>
            </a:r>
          </a:p>
        </p:txBody>
      </p:sp>
      <p:sp>
        <p:nvSpPr>
          <p:cNvPr id="15" name="SmartArt Placeholder 13">
            <a:extLst>
              <a:ext uri="{FF2B5EF4-FFF2-40B4-BE49-F238E27FC236}">
                <a16:creationId xmlns:a16="http://schemas.microsoft.com/office/drawing/2014/main" id="{C17B20F9-AA7C-A405-6236-9619CB287E6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dgm" sz="quarter" idx="34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7" name="SmartArt Placeholder 14">
            <a:extLst>
              <a:ext uri="{FF2B5EF4-FFF2-40B4-BE49-F238E27FC236}">
                <a16:creationId xmlns:a16="http://schemas.microsoft.com/office/drawing/2014/main" id="{273647F7-B9AC-34AD-37A2-51B8AB0D581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05848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04648CD8-B307-812B-5BD0-91AA365C73D1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GB"/>
              <a:t>Click icon to add media</a:t>
            </a:r>
            <a:endParaRPr lang="en-US"/>
          </a:p>
        </p:txBody>
      </p:sp>
      <p:sp>
        <p:nvSpPr>
          <p:cNvPr id="4" name="Date Placeholder 8">
            <a:extLst>
              <a:ext uri="{FF2B5EF4-FFF2-40B4-BE49-F238E27FC236}">
                <a16:creationId xmlns:a16="http://schemas.microsoft.com/office/drawing/2014/main" id="{2B2A75B8-AC69-234D-6453-3F51196FB9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45" y="6437115"/>
            <a:ext cx="1275686" cy="123111"/>
          </a:xfrm>
        </p:spPr>
        <p:txBody>
          <a:bodyPr/>
          <a:lstStyle/>
          <a:p>
            <a:fld id="{129CD268-B1C7-4A46-B2D2-316BA9297DDB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5" name="Footer Placeholder 9">
            <a:extLst>
              <a:ext uri="{FF2B5EF4-FFF2-40B4-BE49-F238E27FC236}">
                <a16:creationId xmlns:a16="http://schemas.microsoft.com/office/drawing/2014/main" id="{D1F90C88-74CB-BCA1-B76D-286F3EBEE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0531" y="6437115"/>
            <a:ext cx="3825470" cy="123111"/>
          </a:xfrm>
        </p:spPr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85104006-7F28-1301-537B-8A4422337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5747" y="6437115"/>
            <a:ext cx="509098" cy="123111"/>
          </a:xfrm>
        </p:spPr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SmartArt Placeholder 13">
            <a:extLst>
              <a:ext uri="{FF2B5EF4-FFF2-40B4-BE49-F238E27FC236}">
                <a16:creationId xmlns:a16="http://schemas.microsoft.com/office/drawing/2014/main" id="{C1050600-C16E-B87E-A2FD-AE302C51009E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3" name="SmartArt Placeholder 14">
            <a:extLst>
              <a:ext uri="{FF2B5EF4-FFF2-40B4-BE49-F238E27FC236}">
                <a16:creationId xmlns:a16="http://schemas.microsoft.com/office/drawing/2014/main" id="{2358EBAA-AAE1-278D-A8F7-2D66E11CDE43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7450805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580353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3364AF-A28F-FA53-8E16-58CAF7F96B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550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7" imgH="307" progId="TCLayout.ActiveDocument.1">
                  <p:embed/>
                </p:oleObj>
              </mc:Choice>
              <mc:Fallback>
                <p:oleObj name="think-cell Slide" r:id="rId3" imgW="307" imgH="30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3364AF-A28F-FA53-8E16-58CAF7F96B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79FA89-B847-B387-87DA-EECEA0CC52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501" y="285750"/>
            <a:ext cx="10515600" cy="911283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007DA46-6C2C-1CED-D81E-A3774D468D08}"/>
              </a:ext>
            </a:extLst>
          </p:cNvPr>
          <p:cNvSpPr txBox="1"/>
          <p:nvPr userDrawn="1"/>
        </p:nvSpPr>
        <p:spPr>
          <a:xfrm>
            <a:off x="239251" y="104145"/>
            <a:ext cx="1905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46">
              <a:defRPr/>
            </a:pPr>
            <a:r>
              <a:rPr lang="en-US" sz="1100" kern="0">
                <a:solidFill>
                  <a:srgbClr val="FFE600"/>
                </a:solidFill>
                <a:latin typeface="EYInterstate Regular" panose="02000503020000020004" pitchFamily="2" charset="0"/>
              </a:rPr>
              <a:t>EY Latam – China Market</a:t>
            </a:r>
            <a:endParaRPr lang="en-US" sz="1100" kern="0">
              <a:solidFill>
                <a:srgbClr val="FFE600"/>
              </a:solidFill>
              <a:latin typeface="EYInterstate Light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89065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ackground" descr="A blurry image of a rainbow&#10;&#10;Description automatically generated">
            <a:extLst>
              <a:ext uri="{FF2B5EF4-FFF2-40B4-BE49-F238E27FC236}">
                <a16:creationId xmlns:a16="http://schemas.microsoft.com/office/drawing/2014/main" id="{C586CC36-CAC3-0258-347D-5742F734B09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-1"/>
            <a:ext cx="12193200" cy="6861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8AE523-7B3C-8783-DFC0-18E1AA2D8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6FD95-0C81-8816-F6A7-13708A804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26CAC-C417-4BE4-8F7A-03F6C4C3AC64}" type="datetime3">
              <a:rPr lang="en-US" smtClean="0"/>
              <a:t>28 May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B0C7E-A414-4EA6-7DAD-5068A7AE4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298F4-310D-68C0-AA7E-8C7FA83AB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B387BF89-2CF2-833C-F3D8-A6095E99E2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23" y="2523291"/>
            <a:ext cx="3571200" cy="1438855"/>
          </a:xfrm>
        </p:spPr>
        <p:txBody>
          <a:bodyPr>
            <a:spAutoFit/>
          </a:bodyPr>
          <a:lstStyle>
            <a:lvl1pPr marL="0" indent="0" algn="ctr">
              <a:lnSpc>
                <a:spcPct val="85000"/>
              </a:lnSpc>
              <a:buNone/>
              <a:defRPr sz="11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252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000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808AA70-A8F5-B52B-A33E-3456242455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2096" y="2531683"/>
            <a:ext cx="3571200" cy="1438855"/>
          </a:xfrm>
        </p:spPr>
        <p:txBody>
          <a:bodyPr>
            <a:spAutoFit/>
          </a:bodyPr>
          <a:lstStyle>
            <a:lvl1pPr marL="0" indent="0" algn="ctr">
              <a:lnSpc>
                <a:spcPct val="85000"/>
              </a:lnSpc>
              <a:buNone/>
              <a:defRPr sz="11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000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9EACB69D-0795-B94F-58F7-2F354BB47D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38670" y="2531683"/>
            <a:ext cx="3571200" cy="1438855"/>
          </a:xfrm>
        </p:spPr>
        <p:txBody>
          <a:bodyPr>
            <a:spAutoFit/>
          </a:bodyPr>
          <a:lstStyle>
            <a:lvl1pPr marL="0" indent="0" algn="ctr">
              <a:lnSpc>
                <a:spcPct val="85000"/>
              </a:lnSpc>
              <a:buNone/>
              <a:defRPr sz="11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000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977ACC9-4278-37A3-C20C-7458A96B95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5523" y="3936165"/>
            <a:ext cx="3571200" cy="2113797"/>
          </a:xfrm>
        </p:spPr>
        <p:txBody>
          <a:bodyPr/>
          <a:lstStyle>
            <a:lvl1pPr marL="0" indent="0" algn="ctr">
              <a:buNone/>
              <a:defRPr/>
            </a:lvl1pPr>
            <a:lvl2pPr marL="0" indent="0" algn="ctr">
              <a:buNone/>
              <a:defRPr sz="1800"/>
            </a:lvl2pPr>
            <a:lvl3pPr marL="0" indent="0" algn="ctr">
              <a:buNone/>
              <a:defRPr sz="1600"/>
            </a:lvl3pPr>
            <a:lvl4pPr marL="0" indent="0" algn="ctr">
              <a:buNone/>
              <a:defRPr sz="1400"/>
            </a:lvl4pPr>
            <a:lvl5pPr marL="0" indent="0" algn="ctr">
              <a:buNone/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4CDE11A7-CFD5-0BCE-E9EB-82E0961682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12096" y="3936165"/>
            <a:ext cx="3571200" cy="2113797"/>
          </a:xfrm>
        </p:spPr>
        <p:txBody>
          <a:bodyPr/>
          <a:lstStyle>
            <a:lvl1pPr marL="0" indent="0" algn="ctr">
              <a:buNone/>
              <a:defRPr/>
            </a:lvl1pPr>
            <a:lvl2pPr marL="0" indent="0" algn="ctr">
              <a:buNone/>
              <a:defRPr sz="1800"/>
            </a:lvl2pPr>
            <a:lvl3pPr marL="0" indent="0" algn="ctr">
              <a:buNone/>
              <a:defRPr sz="1600"/>
            </a:lvl3pPr>
            <a:lvl4pPr marL="0" indent="0" algn="ctr">
              <a:buNone/>
              <a:defRPr sz="1400"/>
            </a:lvl4pPr>
            <a:lvl5pPr marL="0" indent="0" algn="ctr">
              <a:buNone/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53FBCF7B-885D-438B-8ADE-568707D41F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670" y="3936165"/>
            <a:ext cx="3571200" cy="2113797"/>
          </a:xfrm>
        </p:spPr>
        <p:txBody>
          <a:bodyPr/>
          <a:lstStyle>
            <a:lvl1pPr marL="0" indent="0" algn="ctr">
              <a:buNone/>
              <a:defRPr/>
            </a:lvl1pPr>
            <a:lvl2pPr marL="0" indent="0" algn="ctr">
              <a:buNone/>
              <a:defRPr sz="1800"/>
            </a:lvl2pPr>
            <a:lvl3pPr marL="0" indent="0" algn="ctr">
              <a:buNone/>
              <a:defRPr sz="1600"/>
            </a:lvl3pPr>
            <a:lvl4pPr marL="0" indent="0" algn="ctr">
              <a:buNone/>
              <a:defRPr sz="1400"/>
            </a:lvl4pPr>
            <a:lvl5pPr marL="0" indent="0" algn="ctr">
              <a:buNone/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D35D28B5-B927-1D64-2A2C-CAE9617F720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041E794A-5BA9-0AEB-B69E-BDD517FE038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47E89372-29EB-BAE0-BD25-5DCA52F7BAD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976A4CC0-A57B-68E6-0F76-F1A6D82EF66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51369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1879221"/>
              </p:ext>
            </p:ext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3" imgH="499" progId="TCLayout.ActiveDocument.1">
                  <p:embed/>
                </p:oleObj>
              </mc:Choice>
              <mc:Fallback>
                <p:oleObj name="think-cell Slide" r:id="rId4" imgW="523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E1826A-236D-42D3-A731-B207B44C87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73B994F-5CA9-4984-BB86-96ED553B15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5881" y="124968"/>
            <a:ext cx="402504" cy="41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80166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rry image of a rainbow&#10;&#10;Description automatically generated">
            <a:extLst>
              <a:ext uri="{FF2B5EF4-FFF2-40B4-BE49-F238E27FC236}">
                <a16:creationId xmlns:a16="http://schemas.microsoft.com/office/drawing/2014/main" id="{317BE7A3-A673-B58A-8BE4-D36A0E590D3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3D8D2553-DCAF-2D9D-2138-FE4E794B7FFA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97" name="Freeform 296">
              <a:extLst>
                <a:ext uri="{FF2B5EF4-FFF2-40B4-BE49-F238E27FC236}">
                  <a16:creationId xmlns:a16="http://schemas.microsoft.com/office/drawing/2014/main" id="{AD4E5D8B-12B4-19F3-17D4-D12BF368FC85}"/>
                </a:ext>
              </a:extLst>
            </p:cNvPr>
            <p:cNvSpPr/>
            <p:nvPr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8" name="Freeform 297">
              <a:extLst>
                <a:ext uri="{FF2B5EF4-FFF2-40B4-BE49-F238E27FC236}">
                  <a16:creationId xmlns:a16="http://schemas.microsoft.com/office/drawing/2014/main" id="{219789D6-6B07-F2E6-06BE-8CA9DC83E385}"/>
                </a:ext>
              </a:extLst>
            </p:cNvPr>
            <p:cNvSpPr/>
            <p:nvPr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767D4D9-A47B-4020-6B9B-87B081166C85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99" name="Freeform 298">
              <a:extLst>
                <a:ext uri="{FF2B5EF4-FFF2-40B4-BE49-F238E27FC236}">
                  <a16:creationId xmlns:a16="http://schemas.microsoft.com/office/drawing/2014/main" id="{70589FC3-4491-BD75-2C16-660DF0B71BBC}"/>
                </a:ext>
              </a:extLst>
            </p:cNvPr>
            <p:cNvSpPr/>
            <p:nvPr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3" name="Freeform 292">
              <a:extLst>
                <a:ext uri="{FF2B5EF4-FFF2-40B4-BE49-F238E27FC236}">
                  <a16:creationId xmlns:a16="http://schemas.microsoft.com/office/drawing/2014/main" id="{B00DB918-F11D-F855-5478-ECB25A1AC3D1}"/>
                </a:ext>
              </a:extLst>
            </p:cNvPr>
            <p:cNvSpPr/>
            <p:nvPr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sp>
        <p:nvSpPr>
          <p:cNvPr id="274" name="Subtitle 2">
            <a:extLst>
              <a:ext uri="{FF2B5EF4-FFF2-40B4-BE49-F238E27FC236}">
                <a16:creationId xmlns:a16="http://schemas.microsoft.com/office/drawing/2014/main" id="{74103396-CF0A-A808-BF1B-463C3EF737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>
                <a:latin typeface="EYInterstate" panose="0200050302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75" name="Title 4">
            <a:extLst>
              <a:ext uri="{FF2B5EF4-FFF2-40B4-BE49-F238E27FC236}">
                <a16:creationId xmlns:a16="http://schemas.microsoft.com/office/drawing/2014/main" id="{B57CD4DB-AED0-4F7E-41BA-02CA96598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89" name="Text Placeholder 288">
            <a:extLst>
              <a:ext uri="{FF2B5EF4-FFF2-40B4-BE49-F238E27FC236}">
                <a16:creationId xmlns:a16="http://schemas.microsoft.com/office/drawing/2014/main" id="{31D45A6D-135C-8C27-4F13-A3BC79AB3E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FA35A17-6E72-5D10-337D-87AD82CF516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D8B71BF-2CD6-B365-4402-A8FF831788C7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A718681-C140-C687-56FE-5B74AAC28F64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5F880BD-E431-2A19-D56A-8B37360C1C20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9438412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right light in the dark&#10;&#10;Description automatically generated">
            <a:extLst>
              <a:ext uri="{FF2B5EF4-FFF2-40B4-BE49-F238E27FC236}">
                <a16:creationId xmlns:a16="http://schemas.microsoft.com/office/drawing/2014/main" id="{963FEC0B-473D-E3B8-1E1E-E29DFA66AD1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FB16D98-C784-FAB9-BCBC-EA53480E5BA8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788DF65-E85A-7EA9-F2BB-B439D5C7EB16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DB6421F7-1BA7-70C3-4C7B-0694CD3F9A6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0E8BD61-2DD9-6340-EB16-98CFEA0A221D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4038A11-FAB8-DE3A-2D5D-3D1F11925688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FD45E8E5-E623-933A-074B-D3B9860ABECB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4CE2B77E-5DDA-CC5C-A575-69779E5794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2C2EB3B4-62C2-DB27-F905-7B5310DF5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41B1F747-977A-C01C-9182-B92C691E57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A5EC877-2F2D-B87F-413C-A62960EC670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DE00CEB3-70C1-B84B-69F4-47C6239A963C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B1A4559-3046-DB7C-170D-8B5BA7C09322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32AF557-95D5-C3A7-8762-30EB758F1305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492905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pectru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76F31E31-25A6-21A9-5DF2-0E1AA48A3DF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195E5ED2-D1BB-AC6E-BF6A-D4BD239F1FE9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1D43938-5757-1C8A-B3BA-59EC353FB68E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05E7332-D2DE-8669-0AEC-5A2A6ABEC83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E9C3B74-7F38-B0AE-8CDD-386F5F93EBDC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BFAD6BB-BE7F-B979-02B7-6642DECA997E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AEBAC9C-4DEF-0172-39AF-392FB46391DA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892836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Yellow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D5BBB5A-0446-3C14-B12C-56A5730E1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4EF81A0-CB40-42B3-5E1A-AA5D72BFB4DD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C1D2CA-2DB1-76BC-DAFE-210631AEC288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F198833-5BF3-BB5E-C3B2-7B705558D02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2DC9F8E-6F8C-AF4A-9D84-4AD1502BB512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7C135C3-9109-7FAF-7A1E-C1697A8F5581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7CB01A6-453C-E086-340E-1FA1E3E1B1A3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1818455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Wri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36FA399-654A-7130-1FF0-0F0197A98C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38649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1272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3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44759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B01B256-70C6-9663-9CC6-1F22ADBAE7C3}"/>
              </a:ext>
            </a:extLst>
          </p:cNvPr>
          <p:cNvGrpSpPr/>
          <p:nvPr userDrawn="1"/>
        </p:nvGrpSpPr>
        <p:grpSpPr>
          <a:xfrm>
            <a:off x="485774" y="719508"/>
            <a:ext cx="5706110" cy="4360545"/>
            <a:chOff x="485774" y="719508"/>
            <a:chExt cx="5706110" cy="4360545"/>
          </a:xfrm>
        </p:grpSpPr>
        <p:sp>
          <p:nvSpPr>
            <p:cNvPr id="10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49784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7195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EEB2775D-C14D-1FFE-E3E9-4E62DDA32301}"/>
              </a:ext>
            </a:extLst>
          </p:cNvPr>
          <p:cNvSpPr txBox="1"/>
          <p:nvPr userDrawn="1"/>
        </p:nvSpPr>
        <p:spPr>
          <a:xfrm>
            <a:off x="461984" y="5552404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>
                <a:solidFill>
                  <a:schemeClr val="bg1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FAE2F50B-78AF-04F3-4BFF-980630AF7A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5966393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5473ED8-C1F4-379D-AE01-5E7A3D5F34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16401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Job Title</a:t>
            </a:r>
            <a:endParaRPr lang="en-GB"/>
          </a:p>
        </p:txBody>
      </p:sp>
      <p:sp>
        <p:nvSpPr>
          <p:cNvPr id="18" name="Picture Placeholder 19">
            <a:extLst>
              <a:ext uri="{FF2B5EF4-FFF2-40B4-BE49-F238E27FC236}">
                <a16:creationId xmlns:a16="http://schemas.microsoft.com/office/drawing/2014/main" id="{812BC08D-D0F7-900D-1481-4C172F6BE5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61846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25B130A-4E65-32BD-4CB8-C7E2B623FD74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56264"/>
            <a:ext cx="8122101" cy="0"/>
          </a:xfrm>
          <a:prstGeom prst="line">
            <a:avLst/>
          </a:prstGeom>
          <a:ln w="9525" cap="flat" cmpd="sng" algn="ctr">
            <a:solidFill>
              <a:srgbClr val="C4C4C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A6E3CB0E-CBF5-F5C6-CBEB-87739E77EC6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AE86F64B-08DB-E5D4-B2AA-6649ABAD8123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1B14B79-79B7-68CD-1151-6FCC77898E68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ACAAE5A-2AFE-71BF-47E0-9339A3B83489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0345405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713817A-1A0E-6215-C86F-711F67622A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167EEE6-F985-2112-F3A8-85F1A04A37BD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66D7E4E-2A81-A5AB-16CA-DBCEFBD59141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7AEBF90-6B4E-C743-2098-786F67C750D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0C9C1757-8C94-A6AF-A3BA-BBD03B3D52CA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A6AE5F3-3050-E5BF-9762-F46B3D60EEC1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D23A643-B30A-6BB1-47DB-C281B5429370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164401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7B25F44-CAE3-AE0B-B97B-B0F6E4B43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E7E8938-439A-DB5B-B3DF-7EF202013D57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A067759-C6C3-3B7B-ABF5-859A6A63528E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C99724B-50FD-5B78-B6B7-D645073026A7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A420F8"/>
                </a:gs>
                <a:gs pos="100000">
                  <a:srgbClr val="5C94F9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FEC4647-A297-6D44-253F-7CB799E4195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6077FE96-06E1-764F-EF1D-227F096A7207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EB8010C-6DC5-5ED2-865B-9ECC10B1F52E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E8B4FD0-7989-32A2-2C2D-B98F2CA72ACD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0096679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D8D4830-1AF6-9C3D-EC53-70FC3C7CBE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8BA944B-A631-ACF6-36AE-7C814C7A5C9A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1B984E4-95BA-5123-1CFC-48CE97FD8196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" name="Freeform 1">
              <a:extLst>
                <a:ext uri="{FF2B5EF4-FFF2-40B4-BE49-F238E27FC236}">
                  <a16:creationId xmlns:a16="http://schemas.microsoft.com/office/drawing/2014/main" id="{63327741-8A1F-B922-5F7C-0313A67883A4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FF32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C06C001-67C6-86C4-D219-6D9FF2EE00C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67864A79-9397-C095-6A60-037405E99933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349A99C1-F5EA-E9BD-DDAD-6B8B04AA2AB0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794E93B-1732-5AE8-2F55-692D141C96CF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6606267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2D7BB4A-5FCC-BE0E-4598-A4CBBA847A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DE89320-B084-3AA1-F041-ECD9699F7EF4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76002E9-E0C8-43F6-867E-B59C9AE9217B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00C864"/>
                </a:gs>
                <a:gs pos="100000">
                  <a:srgbClr val="4696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D6D404D-3B24-C700-DA68-CAC99436C4D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1AC5912-E51B-95BC-8C66-553238217429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9CD55CF-CF31-502D-7730-391827138A2F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17F457C-720D-E922-F11E-103B461D0764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941132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ackground" descr="A bright light in the dark&#10;&#10;Description automatically generated">
            <a:extLst>
              <a:ext uri="{FF2B5EF4-FFF2-40B4-BE49-F238E27FC236}">
                <a16:creationId xmlns:a16="http://schemas.microsoft.com/office/drawing/2014/main" id="{637E6C91-FD1F-3802-3EB8-7D594FFF353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8AE523-7B3C-8783-DFC0-18E1AA2D8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827" y="369888"/>
            <a:ext cx="11224347" cy="47089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6FD95-0C81-8816-F6A7-13708A804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9E36E-018C-4A23-9B4B-846D9B42D52F}" type="datetime3">
              <a:rPr lang="en-US" smtClean="0"/>
              <a:t>28 May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B0C7E-A414-4EA6-7DAD-5068A7AE4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298F4-310D-68C0-AA7E-8C7FA83AB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Media Placeholder 11">
            <a:extLst>
              <a:ext uri="{FF2B5EF4-FFF2-40B4-BE49-F238E27FC236}">
                <a16:creationId xmlns:a16="http://schemas.microsoft.com/office/drawing/2014/main" id="{B97339DA-6D1A-73DA-1D4D-62D37C6FF51E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483827" y="1411287"/>
            <a:ext cx="8160263" cy="4638675"/>
          </a:xfrm>
        </p:spPr>
        <p:txBody>
          <a:bodyPr/>
          <a:lstStyle/>
          <a:p>
            <a:r>
              <a:rPr lang="es-ES"/>
              <a:t>Haga clic en el icono para agregar medios</a:t>
            </a:r>
            <a:endParaRPr lang="en-US" dirty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1E260C28-CF82-AB16-FC6C-EC53C01131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02936" y="1411287"/>
            <a:ext cx="2805238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grpSp>
        <p:nvGrpSpPr>
          <p:cNvPr id="6" name="Logo">
            <a:extLst>
              <a:ext uri="{FF2B5EF4-FFF2-40B4-BE49-F238E27FC236}">
                <a16:creationId xmlns:a16="http://schemas.microsoft.com/office/drawing/2014/main" id="{35A31772-E4C2-BB70-6831-1ABF28FD7A77}"/>
              </a:ext>
            </a:extLst>
          </p:cNvPr>
          <p:cNvGrpSpPr/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D57B9AE-D53A-D4F0-3B7F-B81EBF5E0085}"/>
                </a:ext>
              </a:extLst>
            </p:cNvPr>
            <p:cNvSpPr/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30E49FD-7AF1-7B62-0761-FF4FF1264371}"/>
                </a:ext>
              </a:extLst>
            </p:cNvPr>
            <p:cNvSpPr/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16E608EC-B7D8-A3B6-E4F4-28E79663F16F}"/>
                </a:ext>
              </a:extLst>
            </p:cNvPr>
            <p:cNvSpPr/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875855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CF5E0C7-6CC4-C4E1-946D-4BAC78CCDA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2E27567-DFCD-709F-AF40-B7A340ECC0FE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AC690EE-1BB8-29C6-B9D8-2BD7B4AE0781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7D1E"/>
                </a:gs>
                <a:gs pos="100000">
                  <a:srgbClr val="32FFFF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8799DD5-A107-F05E-1B17-E91A1549387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51E304F-8F78-3B87-4D90-A4CD04AD740A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0ED5AB1-67B1-EB7E-24B6-6CE9AFD24441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5218930-F485-F944-970D-2DD7F653BEDF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1514101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71B9AAE-F698-5F49-FF7D-DB273B1EE1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0068369-6C63-44AF-3E4E-30E5F2D1F837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F7E7875-967C-8167-6219-7AD2981B3A46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FF32FF"/>
                </a:gs>
                <a:gs pos="100000">
                  <a:srgbClr val="E95023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E8C9C312-F6C2-0463-D74A-A17E895A20A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807442E-6BC7-A4A5-0BEA-D4E13D6ED37F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9A8D832-F8A5-B928-BD29-D49AC2218B7C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9768C3F-9B6D-90AA-9F71-E2AE10CDE47C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4879323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EAFCAD8-0916-AF46-1471-030E4128E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A89752D-8E95-B790-7077-E6201AB412C3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6FD7948-9E7C-1CE1-F28B-D2D349BB86F0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C5FD45"/>
                </a:gs>
                <a:gs pos="100000">
                  <a:srgbClr val="80FBFD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227FA85-BD8B-B10F-506C-988BB7ED6E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25F022C-3DD7-CE54-3F41-B2A9FD83FDF1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3B4BDBD-6FF3-6330-ADF8-EDC185F44AE9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2E5D71A-BC9C-E69D-9D59-9AA8924027F8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2387861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388CF986-E6D2-86D0-6501-D59429EAD0A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B4372B3-E211-F19D-CBD9-6CEDF871BD0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87AE7D4-D909-4109-A95D-3FC199CCB2C0}" type="datetime1">
              <a:rPr lang="en-US" smtClean="0"/>
              <a:t>5/28/20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3173B02-1E93-D358-4602-350A7447C7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5E3423F-0FF8-8E54-CEB8-1F15261AFD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D3CF5FC1-8EBA-8F68-D0E5-727D21919C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AE5FDF1F-8E3A-FB66-7C81-266601DA400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91C765C7-1DD0-DFBB-9089-29849D42BA8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0B43463-538D-A50A-4299-A6C5A973766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418191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ADC82D1B-1943-B3BC-B7E9-DADF1458A76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F04263E-9F32-7609-1152-7E305FEBE7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4E59C0B-A301-47D7-A25C-27D2115D1CC3}" type="datetime1">
              <a:rPr lang="en-US" smtClean="0"/>
              <a:t>5/28/20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F7F02905-9FFE-65B7-8565-3E827BBAEC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10BD8AE-BB2B-B523-1D74-4E8DBE210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6C50EF9C-A411-B76F-4417-55EA0CDCAD28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5CE13AFD-214E-24E8-0633-0508635B5C0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88E5DF2-C2EC-705B-7734-81A5ACCECEC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2EF38C94-0C58-F9C8-0963-86769B7977B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70387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light in the dark&#10;&#10;Description automatically generated">
            <a:extLst>
              <a:ext uri="{FF2B5EF4-FFF2-40B4-BE49-F238E27FC236}">
                <a16:creationId xmlns:a16="http://schemas.microsoft.com/office/drawing/2014/main" id="{A6C92DE9-1F7F-6A8E-389D-FBCE38254AD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A4B60AF8-644E-A0B2-7653-4332A03759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37D316F-1268-4431-A741-5D0F481E1DCF}" type="datetime1">
              <a:rPr lang="en-US" smtClean="0"/>
              <a:t>5/28/2025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466D1FDE-8AD4-4D56-5318-1DD8ED2FCA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80F9161-0A5B-9390-AAC5-925D1AE2AA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DFFE949A-6E9F-DCCB-3981-444F818B70A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E874CEB-2D3F-A7FC-68BB-B1E5B73F85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BE24A05-3707-8B71-381D-4FC6EE679AF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EF9B997-BE91-43C4-F809-E78685E578A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33070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rry image of a rainbow&#10;&#10;Description automatically generated">
            <a:extLst>
              <a:ext uri="{FF2B5EF4-FFF2-40B4-BE49-F238E27FC236}">
                <a16:creationId xmlns:a16="http://schemas.microsoft.com/office/drawing/2014/main" id="{C8E8709F-6A78-59BB-D254-AE4C7F2A57D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A3F83A6-1D48-7A59-F89B-1AD446292A9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35555C3-DC00-46EA-9086-667F713D2BC0}" type="datetime1">
              <a:rPr lang="en-US" smtClean="0"/>
              <a:t>5/28/20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7E103D91-874B-B49F-B9D9-85F52EAD81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C95BFB4-BABD-DFFF-43A5-9ABB8A6638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798A70C5-9B3E-7941-E067-8A9791BCF2D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FF0F4F06-C9A4-A997-AB67-59B717C1376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D63C193D-825D-B7A7-F2EF-F53A6010012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44996D9C-EDDB-9A0C-B93D-E5808F8C79D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355595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9B1A0959-0F7F-FF84-F8C5-2E76E9D45F4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C227FF4-7010-4A9A-B837-FB3A97078B9E}" type="datetime1">
              <a:rPr lang="en-US" smtClean="0"/>
              <a:t>5/28/20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2CBC4E2-6D56-5589-38B7-123BB8BE748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A8D992E6-EAE7-83CF-5B22-7C7DCDB38DC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DDA26C30-C61D-FE6C-E1DC-6A89E2511A9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69AE1E0B-DC05-6DB6-F457-D229556B4C4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696120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rry image of a rainbow&#10;&#10;Description automatically generated">
            <a:extLst>
              <a:ext uri="{FF2B5EF4-FFF2-40B4-BE49-F238E27FC236}">
                <a16:creationId xmlns:a16="http://schemas.microsoft.com/office/drawing/2014/main" id="{36630E4E-7F64-A84B-6022-F16994E9537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305361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21692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5000"/>
              </a:lnSpc>
              <a:spcAft>
                <a:spcPts val="0"/>
              </a:spcAft>
              <a:buNone/>
              <a:defRPr kumimoji="0" lang="en-US" sz="16600" b="1" i="0" u="none" strike="noStrike" kern="1200" cap="none" spc="0" normalizeH="0" baseline="0" dirty="0">
                <a:ln>
                  <a:noFill/>
                </a:ln>
                <a:solidFill>
                  <a:srgbClr val="747480">
                    <a:alpha val="50000"/>
                  </a:srgbClr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00</a:t>
            </a:r>
            <a:endParaRPr lang="en-US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6564291-F29B-4C72-84F6-A40A5470E5DC}" type="datetime1">
              <a:rPr lang="en-US" smtClean="0"/>
              <a:t>5/28/20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2D79ED6-4894-2B8B-D862-974AC88E705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F6B658B-99C5-075E-8FBB-F68A5010C40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D5FE3CF-44B0-DC6A-D098-1142A9EF999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0B46547D-1401-03DA-C2CC-733F034C790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012059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rry image of a rainbow&#10;&#10;Description automatically generated">
            <a:extLst>
              <a:ext uri="{FF2B5EF4-FFF2-40B4-BE49-F238E27FC236}">
                <a16:creationId xmlns:a16="http://schemas.microsoft.com/office/drawing/2014/main" id="{0CF60EBF-BB0E-A13F-6F1D-8E03C5FC39A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30FFC6-DEA1-5FCD-0ABD-350186ADB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523" y="369888"/>
            <a:ext cx="3314701" cy="470898"/>
          </a:xfrm>
        </p:spPr>
        <p:txBody>
          <a:bodyPr/>
          <a:lstStyle/>
          <a:p>
            <a:r>
              <a:rPr lang="en-GB"/>
              <a:t>Contents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8AEA00-448F-1217-B10E-ABF6D402B4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5775" y="1411287"/>
            <a:ext cx="5099050" cy="4638675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/>
              <a:t>Introduction text goes here and delete the bullet if not require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6B67F104-BCCD-4057-9F3C-70C29E057A5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06A2DFB-6B6C-4D18-9FE2-B8F776637D13}" type="datetime1">
              <a:rPr lang="en-US" smtClean="0"/>
              <a:t>5/28/2025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880D4C2-A728-3810-8EAF-6AC78A949B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4CB206C2-DFD0-9033-25AE-68BCB50C193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A244641-8AF5-E5A2-18FB-105E0DDC42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9647" y="1411287"/>
            <a:ext cx="5610225" cy="4638675"/>
          </a:xfrm>
        </p:spPr>
        <p:txBody>
          <a:bodyPr/>
          <a:lstStyle>
            <a:lvl1pPr marL="457200" indent="-457200">
              <a:buFont typeface="+mj-lt"/>
              <a:buAutoNum type="arabicPeriod"/>
              <a:defRPr sz="1800"/>
            </a:lvl1pPr>
            <a:lvl2pPr marL="914400" indent="-457200">
              <a:defRPr sz="1600"/>
            </a:lvl2pPr>
            <a:lvl3pPr marL="914400" indent="-457200">
              <a:defRPr sz="1600"/>
            </a:lvl3pPr>
            <a:lvl4pPr marL="914400" indent="-457200">
              <a:defRPr sz="1400"/>
            </a:lvl4pPr>
            <a:lvl5pPr marL="914400" indent="-457200">
              <a:defRPr sz="1400"/>
            </a:lvl5pPr>
          </a:lstStyle>
          <a:p>
            <a:pPr lvl="0"/>
            <a:r>
              <a:rPr lang="en-IN"/>
              <a:t>Section header goes here and to insert page numbers use the tab button on the keyboar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6A947DDB-75DB-76B2-ADC5-D93B38D418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777A9F83-CB8D-4479-6968-8B47D931EEB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6B1C04DF-19FD-1D5D-56C9-211BF50EB23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297F736-140F-E853-3848-EA573A1B3C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46354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yellow and black light&#10;&#10;Description automatically generated with medium confidence">
            <a:extLst>
              <a:ext uri="{FF2B5EF4-FFF2-40B4-BE49-F238E27FC236}">
                <a16:creationId xmlns:a16="http://schemas.microsoft.com/office/drawing/2014/main" id="{48DB6F09-4360-87F8-7045-768BF31446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200" cy="685867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7F408-41C0-4827-A3D8-F81A16A651DC}" type="datetime3">
              <a:rPr lang="en-US" smtClean="0"/>
              <a:t>28 May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EC20394-F6AE-DC91-F7F3-91384D3756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136" y="4437064"/>
            <a:ext cx="2544933" cy="60483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8C26B76-6BF1-741E-77C9-1AE58FAA9D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5136" y="5243516"/>
            <a:ext cx="2544932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B5250BC2-E0E2-741C-128C-67991E7FE3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78958" y="4437064"/>
            <a:ext cx="2544933" cy="60483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AB1B720-8C35-31CC-E8BA-A24F76EC23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78958" y="5243516"/>
            <a:ext cx="2544932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9756EF2-9996-0FB9-D7B0-C8F68A711B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2781" y="4437064"/>
            <a:ext cx="2544933" cy="60483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EBDC17D8-DC6B-1BF9-23DC-FF6D20C0FD0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2781" y="5243516"/>
            <a:ext cx="2544932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FDE2BFA5-8DD3-AAE2-BA88-2C21E5EA382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66603" y="4437064"/>
            <a:ext cx="2544933" cy="60483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6334C15-AC9A-3BC9-AC49-BB8588AC06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166603" y="5243516"/>
            <a:ext cx="2544932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0BA6537A-D367-6DF9-2A2C-F0EF216DD53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6802" y="1693850"/>
            <a:ext cx="2541600" cy="25416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1ABE1BD9-533C-1930-8960-4BAE5CA7463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80625" y="1693850"/>
            <a:ext cx="2541600" cy="25416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FFEBD01-EBC9-7BDA-3CC5-39B4C8203AA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74448" y="1693850"/>
            <a:ext cx="2541600" cy="25416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38869CAE-EFD2-4214-1658-F59F26B2225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68270" y="1693850"/>
            <a:ext cx="2541600" cy="25416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EB1712DB-44E3-F1E8-EE98-F386A5DBCFB5}"/>
              </a:ext>
            </a:extLst>
          </p:cNvPr>
          <p:cNvGrpSpPr/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2FA99ABD-7D1B-8F65-C9CB-2CBCEBD94E69}"/>
                </a:ext>
              </a:extLst>
            </p:cNvPr>
            <p:cNvSpPr/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025AE411-6530-3204-66E5-2472998CA5C4}"/>
                </a:ext>
              </a:extLst>
            </p:cNvPr>
            <p:cNvSpPr/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8FBCF87D-7239-07DB-2566-2B574AA52E9E}"/>
                </a:ext>
              </a:extLst>
            </p:cNvPr>
            <p:cNvSpPr/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417053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right light in the dark&#10;&#10;Description automatically generated">
            <a:extLst>
              <a:ext uri="{FF2B5EF4-FFF2-40B4-BE49-F238E27FC236}">
                <a16:creationId xmlns:a16="http://schemas.microsoft.com/office/drawing/2014/main" id="{C6893964-B096-BBF5-42BC-1EAE055022B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B9199D71-1BDD-2925-CD92-9B0B3F8439E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56521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8391354-FDE4-DE4D-8084-A61467B9F4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 flipH="1">
            <a:off x="2845421" y="3642518"/>
            <a:ext cx="178560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F575A1BC-5BD6-1793-C917-0720FC3DE98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16419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CBCE1B-3F39-C7B5-CCE2-AE84242E77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flipH="1">
            <a:off x="5205319" y="3642518"/>
            <a:ext cx="178560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14015C2-B8E4-B890-4CD0-F6A3A2052CA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65217" y="3642518"/>
            <a:ext cx="178560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37959C9A-F406-FB92-6FFF-08F42234CF9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836214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BC6A6256-32C1-F83C-4A32-D674785CF1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925114" y="3642518"/>
            <a:ext cx="178560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0A2165-CDB3-28AA-F42A-E5E3D72C14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623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78D4931-12A7-7D80-F380-EDF6BE10CA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5523" y="3642518"/>
            <a:ext cx="178560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8D52684-7A0E-2BDF-C56C-F721FED04E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76317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6" name="SmartArt Placeholder 35">
            <a:extLst>
              <a:ext uri="{FF2B5EF4-FFF2-40B4-BE49-F238E27FC236}">
                <a16:creationId xmlns:a16="http://schemas.microsoft.com/office/drawing/2014/main" id="{6D23DAA3-59C7-A352-8728-D157F22D25EF}"/>
              </a:ext>
            </a:extLst>
          </p:cNvPr>
          <p:cNvSpPr>
            <a:spLocks noGrp="1"/>
          </p:cNvSpPr>
          <p:nvPr>
            <p:ph type="dgm" sz="quarter" idx="36" hasCustomPrompt="1"/>
          </p:nvPr>
        </p:nvSpPr>
        <p:spPr>
          <a:xfrm>
            <a:off x="2556050" y="2020781"/>
            <a:ext cx="3600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7" name="SmartArt Placeholder 35">
            <a:extLst>
              <a:ext uri="{FF2B5EF4-FFF2-40B4-BE49-F238E27FC236}">
                <a16:creationId xmlns:a16="http://schemas.microsoft.com/office/drawing/2014/main" id="{D33DFC67-321E-4CFE-436A-CF6FA96BA7E4}"/>
              </a:ext>
            </a:extLst>
          </p:cNvPr>
          <p:cNvSpPr>
            <a:spLocks noGrp="1"/>
          </p:cNvSpPr>
          <p:nvPr>
            <p:ph type="dgm" sz="quarter" idx="37" hasCustomPrompt="1"/>
          </p:nvPr>
        </p:nvSpPr>
        <p:spPr>
          <a:xfrm flipH="1">
            <a:off x="4915948" y="2020781"/>
            <a:ext cx="3600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8" name="SmartArt Placeholder 35">
            <a:extLst>
              <a:ext uri="{FF2B5EF4-FFF2-40B4-BE49-F238E27FC236}">
                <a16:creationId xmlns:a16="http://schemas.microsoft.com/office/drawing/2014/main" id="{A43CB924-4778-AEB3-1D6C-5B802CD043B0}"/>
              </a:ext>
            </a:extLst>
          </p:cNvPr>
          <p:cNvSpPr>
            <a:spLocks noGrp="1"/>
          </p:cNvSpPr>
          <p:nvPr>
            <p:ph type="dgm" sz="quarter" idx="38" hasCustomPrompt="1"/>
          </p:nvPr>
        </p:nvSpPr>
        <p:spPr>
          <a:xfrm>
            <a:off x="7275846" y="2020781"/>
            <a:ext cx="3600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9" name="SmartArt Placeholder 35">
            <a:extLst>
              <a:ext uri="{FF2B5EF4-FFF2-40B4-BE49-F238E27FC236}">
                <a16:creationId xmlns:a16="http://schemas.microsoft.com/office/drawing/2014/main" id="{225723D6-9330-76F1-3F3B-6A582AC1C154}"/>
              </a:ext>
            </a:extLst>
          </p:cNvPr>
          <p:cNvSpPr>
            <a:spLocks noGrp="1"/>
          </p:cNvSpPr>
          <p:nvPr>
            <p:ph type="dgm" sz="quarter" idx="39" hasCustomPrompt="1"/>
          </p:nvPr>
        </p:nvSpPr>
        <p:spPr>
          <a:xfrm>
            <a:off x="9635744" y="2020781"/>
            <a:ext cx="3600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019C0555-55BD-32D2-B375-0C0BC6641F54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DA23ABC7-F7D1-458D-8379-E93325B473CE}" type="datetime1">
              <a:rPr lang="en-US" smtClean="0"/>
              <a:t>5/28/2025</a:t>
            </a:fld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AA8F600-C044-B2C2-407F-BE157F6651C1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4E7CD09-1595-ACE1-D22D-0DB2944898EF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C73356B1-351A-A1D6-028F-C9736D731FF3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EE1F1DF-83E2-9910-8487-D0B14E0DA52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86EFBE9B-F67C-6359-549F-FC22A1C483D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CAEDED04-6A1F-9E39-1C85-4BA396FAFF1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122095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lorful circle on a black background&#10;&#10;Description automatically generated">
            <a:extLst>
              <a:ext uri="{FF2B5EF4-FFF2-40B4-BE49-F238E27FC236}">
                <a16:creationId xmlns:a16="http://schemas.microsoft.com/office/drawing/2014/main" id="{C39DD3F9-9341-288C-0536-DED981D0E40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5774" y="1411287"/>
            <a:ext cx="11218863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2006E5E-EB55-C43F-A9B4-8DABEB5C23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FD8F32-F279-4432-8A58-F81E65857C65}" type="datetime1">
              <a:rPr lang="en-US" smtClean="0"/>
              <a:t>5/28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45F7D0D-6905-1D3D-D30A-EBA5E1125C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7363F73-563F-BF23-4175-916ADF6ADD1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05920F1D-0D06-535C-A00E-C9CA8D25274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8A16D72-94EE-8CC0-084C-EB87F8781A1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E0BB2990-3047-821E-17D7-0DDDFF6CB30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3AEE2A3-1722-B883-C7FC-01A81806B29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07935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BFF9BC5C-A44C-B902-3ACE-C29AC4CE3E4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5774" y="1411287"/>
            <a:ext cx="11218863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81B29507-2BB1-EC71-EE9B-8A9EE3F01E0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6DF6730-D992-44FA-AE6C-4CBAE491A1A2}" type="datetime1">
              <a:rPr lang="en-US" smtClean="0"/>
              <a:t>5/28/2025</a:t>
            </a:fld>
            <a:endParaRPr lang="en-US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046374F-F6C3-5157-DBE0-F11F0D83F9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C71B9A51-27B6-2F80-3AE9-7FB1599561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2C0D9E54-A379-A966-154D-4362D29B3307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19CE3A53-E53C-AAAA-CD1C-C8F1C56FA3B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3FDBF06-36FA-A0E2-B3E6-78DF2439777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584168FE-6E03-EFEE-BF63-87C62DF46A2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921262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and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6086DA-FAB4-D672-5D3E-0B069D2B24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BA46848-8969-3428-7E66-3827EB17DC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4959" y="4980757"/>
            <a:ext cx="3445104" cy="1938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8B5CC24-699C-7858-0807-40619F0D53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961" y="5184857"/>
            <a:ext cx="3445104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Job title</a:t>
            </a:r>
            <a:endParaRPr lang="en-US"/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DFFEAF1E-587A-2BBD-24CD-BAC3592390EE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B4BF55FC-51F2-4183-8D9E-66AF05973F62}" type="datetime1">
              <a:rPr lang="en-US" smtClean="0"/>
              <a:t>5/28/2025</a:t>
            </a:fld>
            <a:endParaRPr lang="en-US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7C22E0FE-1715-0380-EFE7-5D520713B07F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5820BCA4-5D74-8EE6-4914-C7C86F87E3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E82A0447-0820-5F05-7D32-3BE15F19486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2884" y="358916"/>
            <a:ext cx="2023892" cy="1419083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9200" b="0" i="0">
                <a:solidFill>
                  <a:schemeClr val="tx2"/>
                </a:solidFill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/>
              <a:t>“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8A771E8A-8B2A-ED69-3AEC-E5AEDB16F0E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4959" y="1958113"/>
            <a:ext cx="7524979" cy="2721927"/>
          </a:xfrm>
        </p:spPr>
        <p:txBody>
          <a:bodyPr/>
          <a:lstStyle>
            <a:lvl1pPr marL="0" indent="0">
              <a:buNone/>
              <a:defRPr sz="4800" b="0" i="0"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/>
              <a:t>Quote goes here.</a:t>
            </a:r>
          </a:p>
        </p:txBody>
      </p:sp>
      <p:sp>
        <p:nvSpPr>
          <p:cNvPr id="15" name="SmartArt Placeholder 13">
            <a:extLst>
              <a:ext uri="{FF2B5EF4-FFF2-40B4-BE49-F238E27FC236}">
                <a16:creationId xmlns:a16="http://schemas.microsoft.com/office/drawing/2014/main" id="{C17B20F9-AA7C-A405-6236-9619CB287E6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dgm" sz="quarter" idx="34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  <p:sp>
        <p:nvSpPr>
          <p:cNvPr id="17" name="SmartArt Placeholder 14">
            <a:extLst>
              <a:ext uri="{FF2B5EF4-FFF2-40B4-BE49-F238E27FC236}">
                <a16:creationId xmlns:a16="http://schemas.microsoft.com/office/drawing/2014/main" id="{273647F7-B9AC-34AD-37A2-51B8AB0D581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1917545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04648CD8-B307-812B-5BD0-91AA365C73D1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GB"/>
              <a:t>Click icon to add media</a:t>
            </a:r>
            <a:endParaRPr lang="en-US"/>
          </a:p>
        </p:txBody>
      </p:sp>
      <p:sp>
        <p:nvSpPr>
          <p:cNvPr id="4" name="Date Placeholder 8">
            <a:extLst>
              <a:ext uri="{FF2B5EF4-FFF2-40B4-BE49-F238E27FC236}">
                <a16:creationId xmlns:a16="http://schemas.microsoft.com/office/drawing/2014/main" id="{2B2A75B8-AC69-234D-6453-3F51196FB9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45" y="6437115"/>
            <a:ext cx="1275686" cy="123111"/>
          </a:xfrm>
        </p:spPr>
        <p:txBody>
          <a:bodyPr/>
          <a:lstStyle/>
          <a:p>
            <a:fld id="{652BD6B2-147A-4042-9CBA-A712275A0170}" type="datetime1">
              <a:rPr lang="en-US" smtClean="0"/>
              <a:t>5/28/2025</a:t>
            </a:fld>
            <a:endParaRPr lang="en-US"/>
          </a:p>
        </p:txBody>
      </p:sp>
      <p:sp>
        <p:nvSpPr>
          <p:cNvPr id="5" name="Footer Placeholder 9">
            <a:extLst>
              <a:ext uri="{FF2B5EF4-FFF2-40B4-BE49-F238E27FC236}">
                <a16:creationId xmlns:a16="http://schemas.microsoft.com/office/drawing/2014/main" id="{D1F90C88-74CB-BCA1-B76D-286F3EBEE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0531" y="6437115"/>
            <a:ext cx="3825470" cy="123111"/>
          </a:xfrm>
        </p:spPr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85104006-7F28-1301-537B-8A4422337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5747" y="6437115"/>
            <a:ext cx="509098" cy="123111"/>
          </a:xfrm>
        </p:spPr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SmartArt Placeholder 13">
            <a:extLst>
              <a:ext uri="{FF2B5EF4-FFF2-40B4-BE49-F238E27FC236}">
                <a16:creationId xmlns:a16="http://schemas.microsoft.com/office/drawing/2014/main" id="{C1050600-C16E-B87E-A2FD-AE302C51009E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  <p:sp>
        <p:nvSpPr>
          <p:cNvPr id="13" name="SmartArt Placeholder 14">
            <a:extLst>
              <a:ext uri="{FF2B5EF4-FFF2-40B4-BE49-F238E27FC236}">
                <a16:creationId xmlns:a16="http://schemas.microsoft.com/office/drawing/2014/main" id="{2358EBAA-AAE1-278D-A8F7-2D66E11CDE43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55104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169611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right yellow circle&#10;&#10;Description automatically generated with medium confidence">
            <a:extLst>
              <a:ext uri="{FF2B5EF4-FFF2-40B4-BE49-F238E27FC236}">
                <a16:creationId xmlns:a16="http://schemas.microsoft.com/office/drawing/2014/main" id="{0CE0EE1C-69FD-A2A1-0E47-EEBF86AA51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10994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01600"/>
            <a:ext cx="10972800" cy="59436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able Placeholder 4">
            <a:extLst>
              <a:ext uri="{FF2B5EF4-FFF2-40B4-BE49-F238E27FC236}">
                <a16:creationId xmlns:a16="http://schemas.microsoft.com/office/drawing/2014/main" id="{C5AC4C92-885D-49C5-B704-597DE68FC006}"/>
              </a:ext>
            </a:extLst>
          </p:cNvPr>
          <p:cNvSpPr txBox="1">
            <a:spLocks/>
          </p:cNvSpPr>
          <p:nvPr userDrawn="1"/>
        </p:nvSpPr>
        <p:spPr>
          <a:xfrm>
            <a:off x="813224" y="1137922"/>
            <a:ext cx="6610006" cy="426745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6438" marR="0" lvl="0" indent="-356438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endParaRPr kumimoji="0" lang="en-IN" sz="1999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5" name="Line 10">
            <a:extLst>
              <a:ext uri="{FF2B5EF4-FFF2-40B4-BE49-F238E27FC236}">
                <a16:creationId xmlns:a16="http://schemas.microsoft.com/office/drawing/2014/main" id="{04A2E968-DBA8-4BD3-8F8F-9B23825BC4D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2" y="907750"/>
            <a:ext cx="1101171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218B73-555A-4F14-931F-DAE40AC25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647B7E-DD37-4E2B-93C7-4109DF64246E}" type="datetime3">
              <a:rPr lang="en-US" smtClean="0"/>
              <a:t>28 May 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7FC2ED-0BA0-4018-BDCE-AA7E8B5591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549BB1-9F3B-419B-872D-8849B20BD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601" y="6516456"/>
            <a:ext cx="884088" cy="123111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6315517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3364AF-A28F-FA53-8E16-58CAF7F96B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550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7" imgH="307" progId="TCLayout.ActiveDocument.1">
                  <p:embed/>
                </p:oleObj>
              </mc:Choice>
              <mc:Fallback>
                <p:oleObj name="think-cell Slide" r:id="rId3" imgW="307" imgH="30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3364AF-A28F-FA53-8E16-58CAF7F96B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79FA89-B847-B387-87DA-EECEA0CC52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501" y="285750"/>
            <a:ext cx="10515600" cy="911283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s-CL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007DA46-6C2C-1CED-D81E-A3774D468D08}"/>
              </a:ext>
            </a:extLst>
          </p:cNvPr>
          <p:cNvSpPr txBox="1"/>
          <p:nvPr userDrawn="1"/>
        </p:nvSpPr>
        <p:spPr>
          <a:xfrm>
            <a:off x="239251" y="104145"/>
            <a:ext cx="1905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46">
              <a:defRPr/>
            </a:pPr>
            <a:r>
              <a:rPr lang="en-US" sz="1100" kern="0">
                <a:solidFill>
                  <a:srgbClr val="FFE600"/>
                </a:solidFill>
                <a:latin typeface="EYInterstate Regular" panose="02000503020000020004" pitchFamily="2" charset="0"/>
              </a:rPr>
              <a:t>EY Latam – China Market</a:t>
            </a:r>
            <a:endParaRPr lang="en-US" sz="1100" kern="0">
              <a:solidFill>
                <a:srgbClr val="FFE600"/>
              </a:solidFill>
              <a:latin typeface="EYInterstate Light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69420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background with yellow and green light&#10;&#10;Description automatically generated">
            <a:extLst>
              <a:ext uri="{FF2B5EF4-FFF2-40B4-BE49-F238E27FC236}">
                <a16:creationId xmlns:a16="http://schemas.microsoft.com/office/drawing/2014/main" id="{E292F2D6-66C2-B22A-7FFF-05A7B35054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1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8AE523-7B3C-8783-DFC0-18E1AA2D8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6FD95-0C81-8816-F6A7-13708A804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FF73AE-8D11-4B2F-A332-6A5F529804F7}" type="datetime3">
              <a:rPr lang="en-US" smtClean="0"/>
              <a:t>28 May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B0C7E-A414-4EA6-7DAD-5068A7AE4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298F4-310D-68C0-AA7E-8C7FA83AB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grpSp>
        <p:nvGrpSpPr>
          <p:cNvPr id="11" name="Logo">
            <a:extLst>
              <a:ext uri="{FF2B5EF4-FFF2-40B4-BE49-F238E27FC236}">
                <a16:creationId xmlns:a16="http://schemas.microsoft.com/office/drawing/2014/main" id="{D638B96B-B381-0A4A-9C03-FAEA8FCC0C3A}"/>
              </a:ext>
            </a:extLst>
          </p:cNvPr>
          <p:cNvGrpSpPr/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93FF753-4D01-4602-8217-3FFCC28BA2A1}"/>
                </a:ext>
              </a:extLst>
            </p:cNvPr>
            <p:cNvSpPr/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E36D5F7D-FB28-AFA3-2358-69211F54C147}"/>
                </a:ext>
              </a:extLst>
            </p:cNvPr>
            <p:cNvSpPr/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82505B87-640B-2273-C7C7-DB96614AC411}"/>
                </a:ext>
              </a:extLst>
            </p:cNvPr>
            <p:cNvSpPr/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64665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tags" Target="../tags/tag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oleObject" Target="../embeddings/oleObject5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theme" Target="../theme/theme5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oleObject" Target="../embeddings/oleObject7.bin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C29834-7397-8D6A-7E90-E8D95608D0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73712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04" imgH="405" progId="TCLayout.ActiveDocument.1">
                  <p:embed/>
                </p:oleObj>
              </mc:Choice>
              <mc:Fallback>
                <p:oleObj name="think-cell Slide" r:id="rId12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C29834-7397-8D6A-7E90-E8D95608D0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483827" y="369888"/>
            <a:ext cx="11224347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485523" y="1411287"/>
            <a:ext cx="11224347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First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20pt</a:t>
            </a:r>
            <a:endParaRPr lang="en-US" dirty="0"/>
          </a:p>
          <a:p>
            <a:pPr lvl="1"/>
            <a:r>
              <a:rPr lang="en-US" dirty="0"/>
              <a:t>Second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20pt</a:t>
            </a:r>
            <a:endParaRPr lang="en-US" dirty="0"/>
          </a:p>
          <a:p>
            <a:pPr lvl="2"/>
            <a:r>
              <a:rPr lang="en-US" dirty="0"/>
              <a:t>Third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8pt</a:t>
            </a:r>
            <a:endParaRPr lang="en-US" dirty="0"/>
          </a:p>
          <a:p>
            <a:pPr lvl="3"/>
            <a:r>
              <a:rPr lang="en-US" dirty="0"/>
              <a:t>Four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6pt</a:t>
            </a:r>
            <a:endParaRPr lang="en-US" dirty="0"/>
          </a:p>
          <a:p>
            <a:pPr lvl="4"/>
            <a:r>
              <a:rPr lang="en-US" dirty="0"/>
              <a:t>Fif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6pt</a:t>
            </a:r>
            <a:endParaRPr lang="en-US" dirty="0"/>
          </a:p>
          <a:p>
            <a:pPr lvl="5"/>
            <a:r>
              <a:rPr lang="en-US" dirty="0"/>
              <a:t>Six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4pt</a:t>
            </a:r>
            <a:endParaRPr lang="en-US" dirty="0"/>
          </a:p>
          <a:p>
            <a:pPr lvl="6"/>
            <a:r>
              <a:rPr lang="en-US" dirty="0"/>
              <a:t>Seven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4pt</a:t>
            </a:r>
            <a:endParaRPr lang="en-US" dirty="0"/>
          </a:p>
          <a:p>
            <a:pPr lvl="7"/>
            <a:r>
              <a:rPr lang="en-US" dirty="0"/>
              <a:t>Eigh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2pt</a:t>
            </a:r>
            <a:endParaRPr lang="en-US" dirty="0"/>
          </a:p>
          <a:p>
            <a:pPr lvl="8"/>
            <a:r>
              <a:rPr lang="en-US" dirty="0"/>
              <a:t>Nine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24pt</a:t>
            </a:r>
            <a:r>
              <a:rPr lang="en-US" dirty="0"/>
              <a:t> for key pull out text</a:t>
            </a:r>
          </a:p>
        </p:txBody>
      </p:sp>
      <p:sp>
        <p:nvSpPr>
          <p:cNvPr id="21" name="Slide Number Placeholder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5747" y="6437115"/>
            <a:ext cx="509098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Date Placeholder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45" y="6437115"/>
            <a:ext cx="1275686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6EE34A0-C73B-43AA-B981-8A70FF27C404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20" name="Footer Placeholder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0531" y="6437115"/>
            <a:ext cx="3825470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footer text here</a:t>
            </a:r>
          </a:p>
        </p:txBody>
      </p:sp>
      <p:grpSp>
        <p:nvGrpSpPr>
          <p:cNvPr id="6" name="Logo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Grp="1" noUngrp="1" noRot="1" noChangeAspect="1" noMove="1" noResize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3762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06" r:id="rId2"/>
    <p:sldLayoutId id="2147484000" r:id="rId3"/>
    <p:sldLayoutId id="2147484042" r:id="rId4"/>
    <p:sldLayoutId id="2147483998" r:id="rId5"/>
    <p:sldLayoutId id="2147484043" r:id="rId6"/>
    <p:sldLayoutId id="2147484206" r:id="rId7"/>
    <p:sldLayoutId id="2147484161" r:id="rId8"/>
    <p:sldLayoutId id="2147483975" r:id="rId9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200"/>
        </a:spcBef>
        <a:spcAft>
          <a:spcPts val="1200"/>
        </a:spcAft>
        <a:buClr>
          <a:schemeClr val="tx2"/>
        </a:buClr>
        <a:buFont typeface="Wingdings" pitchFamily="2" charset="2"/>
        <a:buNone/>
        <a:tabLst/>
        <a:defRPr sz="2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302" userDrawn="1">
          <p15:clr>
            <a:srgbClr val="F26B43"/>
          </p15:clr>
        </p15:guide>
        <p15:guide id="47" pos="7378" userDrawn="1">
          <p15:clr>
            <a:srgbClr val="F26B43"/>
          </p15:clr>
        </p15:guide>
        <p15:guide id="55" orient="horz" pos="890" userDrawn="1">
          <p15:clr>
            <a:srgbClr val="F26B43"/>
          </p15:clr>
        </p15:guide>
        <p15:guide id="58" orient="horz" pos="527" userDrawn="1">
          <p15:clr>
            <a:srgbClr val="F26B43"/>
          </p15:clr>
        </p15:guide>
        <p15:guide id="78" orient="horz" pos="3838" userDrawn="1">
          <p15:clr>
            <a:srgbClr val="F26B43"/>
          </p15:clr>
        </p15:guide>
        <p15:guide id="79" orient="horz" pos="21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D41DB50-F457-64FD-9AEC-109DF272EF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44923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04" imgH="405" progId="TCLayout.ActiveDocument.1">
                  <p:embed/>
                </p:oleObj>
              </mc:Choice>
              <mc:Fallback>
                <p:oleObj name="think-cell Slide" r:id="rId15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41DB50-F457-64FD-9AEC-109DF272E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485523" y="1411287"/>
            <a:ext cx="11224347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First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20pt</a:t>
            </a:r>
            <a:endParaRPr lang="en-US" dirty="0"/>
          </a:p>
          <a:p>
            <a:pPr lvl="1"/>
            <a:r>
              <a:rPr lang="en-US" dirty="0"/>
              <a:t>Second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20pt</a:t>
            </a:r>
            <a:endParaRPr lang="en-US" dirty="0"/>
          </a:p>
          <a:p>
            <a:pPr lvl="2"/>
            <a:r>
              <a:rPr lang="en-US" dirty="0"/>
              <a:t>Third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8pt</a:t>
            </a:r>
            <a:endParaRPr lang="en-US" dirty="0"/>
          </a:p>
          <a:p>
            <a:pPr lvl="3"/>
            <a:r>
              <a:rPr lang="en-US" dirty="0"/>
              <a:t>Four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6pt</a:t>
            </a:r>
            <a:endParaRPr lang="en-US" dirty="0"/>
          </a:p>
          <a:p>
            <a:pPr lvl="4"/>
            <a:r>
              <a:rPr lang="en-US" dirty="0"/>
              <a:t>Fif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6pt</a:t>
            </a:r>
            <a:endParaRPr lang="en-US" dirty="0"/>
          </a:p>
          <a:p>
            <a:pPr lvl="5"/>
            <a:r>
              <a:rPr lang="en-US" dirty="0"/>
              <a:t>Six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4pt</a:t>
            </a:r>
            <a:endParaRPr lang="en-US" dirty="0"/>
          </a:p>
          <a:p>
            <a:pPr lvl="6"/>
            <a:r>
              <a:rPr lang="en-US" dirty="0"/>
              <a:t>Seven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4pt</a:t>
            </a:r>
            <a:endParaRPr lang="en-US" dirty="0"/>
          </a:p>
          <a:p>
            <a:pPr lvl="7"/>
            <a:r>
              <a:rPr lang="en-US" dirty="0"/>
              <a:t>Eigh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2pt</a:t>
            </a:r>
            <a:endParaRPr lang="en-US" dirty="0"/>
          </a:p>
          <a:p>
            <a:pPr lvl="8"/>
            <a:r>
              <a:rPr lang="en-US" dirty="0"/>
              <a:t>Nine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24pt</a:t>
            </a:r>
            <a:r>
              <a:rPr lang="en-US" dirty="0"/>
              <a:t> for key pull out text</a:t>
            </a:r>
          </a:p>
        </p:txBody>
      </p:sp>
      <p:sp>
        <p:nvSpPr>
          <p:cNvPr id="21" name="Slide Number Placeholder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5747" y="6437115"/>
            <a:ext cx="509098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Date Placeholder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45" y="6437115"/>
            <a:ext cx="1275686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D99B1A4-71C4-492A-AFBB-922377BBE6ED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20" name="Footer Placeholder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0531" y="6437115"/>
            <a:ext cx="3825470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footer text here</a:t>
            </a:r>
          </a:p>
        </p:txBody>
      </p:sp>
      <p:grpSp>
        <p:nvGrpSpPr>
          <p:cNvPr id="6" name="Logo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Grp="1" noUngrp="1" noRot="1" noChangeAspect="1" noMove="1" noResize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1247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0" r:id="rId1"/>
    <p:sldLayoutId id="2147484121" r:id="rId2"/>
    <p:sldLayoutId id="2147484122" r:id="rId3"/>
    <p:sldLayoutId id="2147484123" r:id="rId4"/>
    <p:sldLayoutId id="2147484124" r:id="rId5"/>
    <p:sldLayoutId id="2147484125" r:id="rId6"/>
    <p:sldLayoutId id="2147484126" r:id="rId7"/>
    <p:sldLayoutId id="2147484127" r:id="rId8"/>
    <p:sldLayoutId id="2147484128" r:id="rId9"/>
    <p:sldLayoutId id="2147484242" r:id="rId10"/>
    <p:sldLayoutId id="2147484243" r:id="rId11"/>
    <p:sldLayoutId id="2147484244" r:id="rId12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200"/>
        </a:spcBef>
        <a:spcAft>
          <a:spcPts val="1200"/>
        </a:spcAft>
        <a:buClr>
          <a:schemeClr val="tx2"/>
        </a:buClr>
        <a:buFont typeface="Wingdings" pitchFamily="2" charset="2"/>
        <a:buNone/>
        <a:tabLst/>
        <a:defRPr sz="2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302" userDrawn="1">
          <p15:clr>
            <a:srgbClr val="F26B43"/>
          </p15:clr>
        </p15:guide>
        <p15:guide id="52" orient="horz" pos="527" userDrawn="1">
          <p15:clr>
            <a:srgbClr val="F26B43"/>
          </p15:clr>
        </p15:guide>
        <p15:guide id="53" pos="7378" userDrawn="1">
          <p15:clr>
            <a:srgbClr val="F26B43"/>
          </p15:clr>
        </p15:guide>
        <p15:guide id="54" orient="horz" pos="3838" userDrawn="1">
          <p15:clr>
            <a:srgbClr val="F26B43"/>
          </p15:clr>
        </p15:guide>
        <p15:guide id="55" orient="horz" pos="890" userDrawn="1">
          <p15:clr>
            <a:srgbClr val="F26B43"/>
          </p15:clr>
        </p15:guide>
        <p15:guide id="56" orient="horz" pos="21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4E0F669-0022-E2B9-CD91-1921458887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29143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04" imgH="405" progId="TCLayout.ActiveDocument.1">
                  <p:embed/>
                </p:oleObj>
              </mc:Choice>
              <mc:Fallback>
                <p:oleObj name="think-cell Slide" r:id="rId15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E0F669-0022-E2B9-CD91-1921458887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485523" y="382588"/>
            <a:ext cx="11224347" cy="6381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485523" y="1411287"/>
            <a:ext cx="11224347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First level text style </a:t>
            </a:r>
            <a:r>
              <a:rPr lang="en-US" dirty="0" err="1"/>
              <a:t>EYInterstate</a:t>
            </a:r>
            <a:r>
              <a:rPr lang="en-US" dirty="0"/>
              <a:t> Light 16pt</a:t>
            </a:r>
          </a:p>
          <a:p>
            <a:pPr lvl="1"/>
            <a:r>
              <a:rPr lang="en-US" dirty="0"/>
              <a:t>Second level text style </a:t>
            </a:r>
            <a:r>
              <a:rPr lang="en-US" dirty="0" err="1"/>
              <a:t>EYInterstate</a:t>
            </a:r>
            <a:r>
              <a:rPr lang="en-US" dirty="0"/>
              <a:t> Light 16pt</a:t>
            </a:r>
          </a:p>
          <a:p>
            <a:pPr lvl="2"/>
            <a:r>
              <a:rPr lang="en-US" dirty="0"/>
              <a:t>Third level text style </a:t>
            </a:r>
            <a:r>
              <a:rPr lang="en-US" dirty="0" err="1"/>
              <a:t>EYInterstate</a:t>
            </a:r>
            <a:r>
              <a:rPr lang="en-US" dirty="0"/>
              <a:t> Light 14pt</a:t>
            </a:r>
          </a:p>
          <a:p>
            <a:pPr lvl="3"/>
            <a:r>
              <a:rPr lang="en-US" dirty="0"/>
              <a:t>Fourth level text style </a:t>
            </a:r>
            <a:r>
              <a:rPr lang="en-US" dirty="0" err="1"/>
              <a:t>EYInterstate</a:t>
            </a:r>
            <a:r>
              <a:rPr lang="en-US" dirty="0"/>
              <a:t> Light 14pt</a:t>
            </a:r>
          </a:p>
          <a:p>
            <a:pPr lvl="4"/>
            <a:r>
              <a:rPr lang="en-US" dirty="0"/>
              <a:t>Fifth level text style </a:t>
            </a:r>
            <a:r>
              <a:rPr lang="en-US" dirty="0" err="1"/>
              <a:t>EYInterstate</a:t>
            </a:r>
            <a:r>
              <a:rPr lang="en-US" dirty="0"/>
              <a:t> Light 12pt</a:t>
            </a:r>
          </a:p>
          <a:p>
            <a:pPr lvl="5"/>
            <a:r>
              <a:rPr lang="en-US" dirty="0"/>
              <a:t>Sixth level text style </a:t>
            </a:r>
            <a:r>
              <a:rPr lang="en-US" dirty="0" err="1"/>
              <a:t>EYInterstate</a:t>
            </a:r>
            <a:r>
              <a:rPr lang="en-US" dirty="0"/>
              <a:t> Light 12pt</a:t>
            </a:r>
          </a:p>
          <a:p>
            <a:pPr lvl="6"/>
            <a:r>
              <a:rPr lang="en-US" dirty="0"/>
              <a:t>Seventh level text style </a:t>
            </a:r>
            <a:r>
              <a:rPr lang="en-US" dirty="0" err="1"/>
              <a:t>EYInterstate</a:t>
            </a:r>
            <a:r>
              <a:rPr lang="en-US" dirty="0"/>
              <a:t> Light 11pt</a:t>
            </a:r>
          </a:p>
          <a:p>
            <a:pPr lvl="7"/>
            <a:r>
              <a:rPr lang="en-US" dirty="0"/>
              <a:t>Eighth level text style </a:t>
            </a:r>
            <a:r>
              <a:rPr lang="en-US" dirty="0" err="1"/>
              <a:t>EYInterstate</a:t>
            </a:r>
            <a:r>
              <a:rPr lang="en-US" dirty="0"/>
              <a:t> Light 10pt</a:t>
            </a:r>
          </a:p>
          <a:p>
            <a:pPr lvl="8"/>
            <a:r>
              <a:rPr lang="en-US" dirty="0"/>
              <a:t>Nineth level text style </a:t>
            </a:r>
            <a:r>
              <a:rPr lang="en-US" dirty="0" err="1"/>
              <a:t>EYInterstate</a:t>
            </a:r>
            <a:r>
              <a:rPr lang="en-US" dirty="0"/>
              <a:t> Light 20pt for key pull out text</a:t>
            </a:r>
          </a:p>
        </p:txBody>
      </p:sp>
      <p:sp>
        <p:nvSpPr>
          <p:cNvPr id="21" name="Slide Number Placeholder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5747" y="6437115"/>
            <a:ext cx="509098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Date Placeholder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45" y="6437115"/>
            <a:ext cx="1275686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462E24E-02B9-4F55-8269-685F98D36E16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20" name="Footer Placeholder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0531" y="6437115"/>
            <a:ext cx="3825470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footer text here</a:t>
            </a:r>
          </a:p>
        </p:txBody>
      </p:sp>
      <p:grpSp>
        <p:nvGrpSpPr>
          <p:cNvPr id="6" name="Logo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Grp="1" noUngrp="1" noRot="1" noChangeAspect="1" noMove="1" noResize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4229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6" r:id="rId1"/>
    <p:sldLayoutId id="2147484087" r:id="rId2"/>
    <p:sldLayoutId id="2147484088" r:id="rId3"/>
    <p:sldLayoutId id="2147484095" r:id="rId4"/>
    <p:sldLayoutId id="2147484099" r:id="rId5"/>
    <p:sldLayoutId id="2147484089" r:id="rId6"/>
    <p:sldLayoutId id="2147484090" r:id="rId7"/>
    <p:sldLayoutId id="2147484096" r:id="rId8"/>
    <p:sldLayoutId id="2147484097" r:id="rId9"/>
    <p:sldLayoutId id="2147484092" r:id="rId10"/>
    <p:sldLayoutId id="2147484100" r:id="rId11"/>
    <p:sldLayoutId id="2147484094" r:id="rId12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1" i="0" kern="1200">
          <a:solidFill>
            <a:schemeClr val="tx2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2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2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1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1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000" kern="1200">
          <a:solidFill>
            <a:schemeClr val="bg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200"/>
        </a:spcBef>
        <a:spcAft>
          <a:spcPts val="1200"/>
        </a:spcAft>
        <a:buClr>
          <a:schemeClr val="tx2"/>
        </a:buClr>
        <a:buFont typeface="Wingdings" pitchFamily="2" charset="2"/>
        <a:buNone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3" pos="302" userDrawn="1">
          <p15:clr>
            <a:srgbClr val="F26B43"/>
          </p15:clr>
        </p15:guide>
        <p15:guide id="45" pos="7378" userDrawn="1">
          <p15:clr>
            <a:srgbClr val="F26B43"/>
          </p15:clr>
        </p15:guide>
        <p15:guide id="58" orient="horz" pos="663" userDrawn="1">
          <p15:clr>
            <a:srgbClr val="F26B43"/>
          </p15:clr>
        </p15:guide>
        <p15:guide id="59" orient="horz" pos="255" userDrawn="1">
          <p15:clr>
            <a:srgbClr val="F26B43"/>
          </p15:clr>
        </p15:guide>
        <p15:guide id="60" orient="horz" pos="890" userDrawn="1">
          <p15:clr>
            <a:srgbClr val="F26B43"/>
          </p15:clr>
        </p15:guide>
        <p15:guide id="61" orient="horz" pos="383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E0D3C2C-EF71-B84D-016F-95920E7B3E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713740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04" imgH="405" progId="TCLayout.ActiveDocument.1">
                  <p:embed/>
                </p:oleObj>
              </mc:Choice>
              <mc:Fallback>
                <p:oleObj name="think-cell Slide" r:id="rId30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0D3C2C-EF71-B84D-016F-95920E7B3E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523" y="1411287"/>
            <a:ext cx="11224347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First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20pt</a:t>
            </a:r>
            <a:endParaRPr lang="en-US" dirty="0"/>
          </a:p>
          <a:p>
            <a:pPr lvl="1"/>
            <a:r>
              <a:rPr lang="en-US" dirty="0"/>
              <a:t>Second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20pt</a:t>
            </a:r>
            <a:endParaRPr lang="en-US" dirty="0"/>
          </a:p>
          <a:p>
            <a:pPr lvl="2"/>
            <a:r>
              <a:rPr lang="en-US" dirty="0"/>
              <a:t>Third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8pt</a:t>
            </a:r>
            <a:endParaRPr lang="en-US" dirty="0"/>
          </a:p>
          <a:p>
            <a:pPr lvl="3"/>
            <a:r>
              <a:rPr lang="en-US" dirty="0"/>
              <a:t>Four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6pt</a:t>
            </a:r>
            <a:endParaRPr lang="en-US" dirty="0"/>
          </a:p>
          <a:p>
            <a:pPr lvl="4"/>
            <a:r>
              <a:rPr lang="en-US" dirty="0"/>
              <a:t>Fif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6pt</a:t>
            </a:r>
            <a:endParaRPr lang="en-US" dirty="0"/>
          </a:p>
          <a:p>
            <a:pPr lvl="5"/>
            <a:r>
              <a:rPr lang="en-US" dirty="0"/>
              <a:t>Six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4pt</a:t>
            </a:r>
            <a:endParaRPr lang="en-US" dirty="0"/>
          </a:p>
          <a:p>
            <a:pPr lvl="6"/>
            <a:r>
              <a:rPr lang="en-US" dirty="0"/>
              <a:t>Seven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4pt</a:t>
            </a:r>
            <a:endParaRPr lang="en-US" dirty="0"/>
          </a:p>
          <a:p>
            <a:pPr lvl="7"/>
            <a:r>
              <a:rPr lang="en-US" dirty="0"/>
              <a:t>Eigh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2pt</a:t>
            </a:r>
            <a:endParaRPr lang="en-US" dirty="0"/>
          </a:p>
          <a:p>
            <a:pPr lvl="8"/>
            <a:r>
              <a:rPr lang="en-US" dirty="0"/>
              <a:t>Nine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2pt</a:t>
            </a:r>
            <a:endParaRPr lang="en-US" dirty="0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ED74E7B3-73BA-6CBF-F361-5C4836CC1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5747" y="6437115"/>
            <a:ext cx="50909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id="{F72B6F9D-B29D-E927-36D7-47D6721092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45" y="6437115"/>
            <a:ext cx="1275686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90216A6-D7C1-4438-A751-6C2C58F1FDA0}" type="datetime3">
              <a:rPr lang="en-US" smtClean="0"/>
              <a:t>28 May 2025</a:t>
            </a:fld>
            <a:endParaRPr lang="en-US" dirty="0"/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F3C10C79-9BC5-0699-5C8C-F8347F4643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0531" y="6437115"/>
            <a:ext cx="382547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3990626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5" r:id="rId1"/>
    <p:sldLayoutId id="2147484076" r:id="rId2"/>
    <p:sldLayoutId id="2147484078" r:id="rId3"/>
    <p:sldLayoutId id="2147484153" r:id="rId4"/>
    <p:sldLayoutId id="2147484154" r:id="rId5"/>
    <p:sldLayoutId id="2147484116" r:id="rId6"/>
    <p:sldLayoutId id="2147484117" r:id="rId7"/>
    <p:sldLayoutId id="2147484118" r:id="rId8"/>
    <p:sldLayoutId id="2147484111" r:id="rId9"/>
    <p:sldLayoutId id="2147484112" r:id="rId10"/>
    <p:sldLayoutId id="2147484113" r:id="rId11"/>
    <p:sldLayoutId id="2147484114" r:id="rId12"/>
    <p:sldLayoutId id="2147484079" r:id="rId13"/>
    <p:sldLayoutId id="2147484080" r:id="rId14"/>
    <p:sldLayoutId id="2147484082" r:id="rId15"/>
    <p:sldLayoutId id="2147484083" r:id="rId16"/>
    <p:sldLayoutId id="2147484081" r:id="rId17"/>
    <p:sldLayoutId id="2147484155" r:id="rId18"/>
    <p:sldLayoutId id="2147484004" r:id="rId19"/>
    <p:sldLayoutId id="2147483984" r:id="rId20"/>
    <p:sldLayoutId id="2147484041" r:id="rId21"/>
    <p:sldLayoutId id="2147484084" r:id="rId22"/>
    <p:sldLayoutId id="2147484028" r:id="rId23"/>
    <p:sldLayoutId id="2147484014" r:id="rId24"/>
    <p:sldLayoutId id="2147484019" r:id="rId25"/>
    <p:sldLayoutId id="2147484212" r:id="rId26"/>
    <p:sldLayoutId id="2147484245" r:id="rId27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226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9" pos="7378" userDrawn="1">
          <p15:clr>
            <a:srgbClr val="F26B43"/>
          </p15:clr>
        </p15:guide>
        <p15:guide id="35" pos="302" userDrawn="1">
          <p15:clr>
            <a:srgbClr val="F26B43"/>
          </p15:clr>
        </p15:guide>
        <p15:guide id="36" orient="horz" pos="210" userDrawn="1">
          <p15:clr>
            <a:srgbClr val="F26B43"/>
          </p15:clr>
        </p15:guide>
        <p15:guide id="37" orient="horz" pos="527" userDrawn="1">
          <p15:clr>
            <a:srgbClr val="F26B43"/>
          </p15:clr>
        </p15:guide>
        <p15:guide id="38" orient="horz" pos="890" userDrawn="1">
          <p15:clr>
            <a:srgbClr val="F26B43"/>
          </p15:clr>
        </p15:guide>
        <p15:guide id="39" orient="horz" pos="3838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8FA4F55-4FE2-2D92-E922-F4324B8408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193377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04" imgH="405" progId="TCLayout.ActiveDocument.1">
                  <p:embed/>
                </p:oleObj>
              </mc:Choice>
              <mc:Fallback>
                <p:oleObj name="think-cell Slide" r:id="rId31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FA4F55-4FE2-2D92-E922-F4324B8408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523" y="1411287"/>
            <a:ext cx="11224347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First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1"/>
            <a:r>
              <a:rPr lang="en-US"/>
              <a:t>Secon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2"/>
            <a:r>
              <a:rPr lang="en-US"/>
              <a:t>Thir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8pt</a:t>
            </a:r>
            <a:endParaRPr lang="en-US"/>
          </a:p>
          <a:p>
            <a:pPr lvl="3"/>
            <a:r>
              <a:rPr lang="en-US"/>
              <a:t>Four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4"/>
            <a:r>
              <a:rPr lang="en-US"/>
              <a:t>Fif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5"/>
            <a:r>
              <a:rPr lang="en-US"/>
              <a:t>Six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6"/>
            <a:r>
              <a:rPr lang="en-US"/>
              <a:t>Seven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7"/>
            <a:r>
              <a:rPr lang="en-US"/>
              <a:t>Eigh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  <a:p>
            <a:pPr lvl="8"/>
            <a:r>
              <a:rPr lang="en-US"/>
              <a:t>Nine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ED74E7B3-73BA-6CBF-F361-5C4836CC1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5747" y="6437115"/>
            <a:ext cx="50909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id="{F72B6F9D-B29D-E927-36D7-47D6721092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45" y="6437115"/>
            <a:ext cx="1275686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1B22532-B74A-42F2-AC78-F979D73BFCAB}" type="datetime1">
              <a:rPr lang="en-US" smtClean="0"/>
              <a:t>5/28/2025</a:t>
            </a:fld>
            <a:endParaRPr lang="en-US"/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F3C10C79-9BC5-0699-5C8C-F8347F4643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0531" y="6437115"/>
            <a:ext cx="382547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2041514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4" r:id="rId1"/>
    <p:sldLayoutId id="2147484215" r:id="rId2"/>
    <p:sldLayoutId id="2147484216" r:id="rId3"/>
    <p:sldLayoutId id="2147484217" r:id="rId4"/>
    <p:sldLayoutId id="2147484218" r:id="rId5"/>
    <p:sldLayoutId id="2147484219" r:id="rId6"/>
    <p:sldLayoutId id="2147484220" r:id="rId7"/>
    <p:sldLayoutId id="2147484221" r:id="rId8"/>
    <p:sldLayoutId id="2147484222" r:id="rId9"/>
    <p:sldLayoutId id="2147484223" r:id="rId10"/>
    <p:sldLayoutId id="2147484224" r:id="rId11"/>
    <p:sldLayoutId id="2147484225" r:id="rId12"/>
    <p:sldLayoutId id="2147484226" r:id="rId13"/>
    <p:sldLayoutId id="2147484227" r:id="rId14"/>
    <p:sldLayoutId id="2147484228" r:id="rId15"/>
    <p:sldLayoutId id="2147484229" r:id="rId16"/>
    <p:sldLayoutId id="2147484230" r:id="rId17"/>
    <p:sldLayoutId id="2147484231" r:id="rId18"/>
    <p:sldLayoutId id="2147484232" r:id="rId19"/>
    <p:sldLayoutId id="2147484233" r:id="rId20"/>
    <p:sldLayoutId id="2147484234" r:id="rId21"/>
    <p:sldLayoutId id="2147484235" r:id="rId22"/>
    <p:sldLayoutId id="2147484236" r:id="rId23"/>
    <p:sldLayoutId id="2147484237" r:id="rId24"/>
    <p:sldLayoutId id="2147484238" r:id="rId25"/>
    <p:sldLayoutId id="2147484239" r:id="rId26"/>
    <p:sldLayoutId id="2147484240" r:id="rId27"/>
    <p:sldLayoutId id="2147484241" r:id="rId28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226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9" pos="7378">
          <p15:clr>
            <a:srgbClr val="F26B43"/>
          </p15:clr>
        </p15:guide>
        <p15:guide id="35" pos="302">
          <p15:clr>
            <a:srgbClr val="F26B43"/>
          </p15:clr>
        </p15:guide>
        <p15:guide id="36" orient="horz" pos="210">
          <p15:clr>
            <a:srgbClr val="F26B43"/>
          </p15:clr>
        </p15:guide>
        <p15:guide id="37" orient="horz" pos="527">
          <p15:clr>
            <a:srgbClr val="F26B43"/>
          </p15:clr>
        </p15:guide>
        <p15:guide id="38" orient="horz" pos="890">
          <p15:clr>
            <a:srgbClr val="F26B43"/>
          </p15:clr>
        </p15:guide>
        <p15:guide id="39" orient="horz" pos="38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88.xml"/><Relationship Id="rId1" Type="http://schemas.openxmlformats.org/officeDocument/2006/relationships/tags" Target="../tags/tag19.xml"/><Relationship Id="rId6" Type="http://schemas.openxmlformats.org/officeDocument/2006/relationships/chart" Target="../charts/chart6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8.xml"/><Relationship Id="rId4" Type="http://schemas.openxmlformats.org/officeDocument/2006/relationships/hyperlink" Target="https://iclac.cl/mapa-repositorio-regional-de-inversiones-chinas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hyperlink" Target="https://iclac.cl/mapa-repositorio-regional-de-inversiones-chinas/" TargetMode="External"/><Relationship Id="rId1" Type="http://schemas.openxmlformats.org/officeDocument/2006/relationships/slideLayout" Target="../slideLayouts/slideLayout8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88.xml"/><Relationship Id="rId1" Type="http://schemas.openxmlformats.org/officeDocument/2006/relationships/tags" Target="../tags/tag20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chart" Target="../charts/chart10.xml"/><Relationship Id="rId2" Type="http://schemas.openxmlformats.org/officeDocument/2006/relationships/slideLayout" Target="../slideLayouts/slideLayout88.xml"/><Relationship Id="rId1" Type="http://schemas.openxmlformats.org/officeDocument/2006/relationships/tags" Target="../tags/tag21.xml"/><Relationship Id="rId6" Type="http://schemas.openxmlformats.org/officeDocument/2006/relationships/chart" Target="../charts/chart9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hyperlink" Target="https://www.reuters.com/world/china-latin-america-trade-exceeded-500-billion-2024-2025-05-13/" TargetMode="Externa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3.xml"/><Relationship Id="rId6" Type="http://schemas.openxmlformats.org/officeDocument/2006/relationships/hyperlink" Target="https://english.news.cn/20241113/7d7b2ac7a88946a1a01e1e61ae8e2bb0/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2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hyperlink" Target="https://www.americasquarterly.org/article" TargetMode="Externa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14.xml"/><Relationship Id="rId6" Type="http://schemas.openxmlformats.org/officeDocument/2006/relationships/hyperlink" Target="https://www.redalc-china.org/monitor/images/pdfs/menuprincipal/DusselPeters_MonitorOFDI_2024_Esp.pdf" TargetMode="Externa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redalc-china.org/monitor/images/pdfs/menuprincipal/DusselPeters_MonitorOFDI_2025_Esp.pdf" TargetMode="External"/><Relationship Id="rId3" Type="http://schemas.openxmlformats.org/officeDocument/2006/relationships/notesSlide" Target="../notesSlides/notesSlide3.xml"/><Relationship Id="rId7" Type="http://schemas.openxmlformats.org/officeDocument/2006/relationships/hyperlink" Target="https://www.redalc-china.org/monitor/images/pdfs/menuprincipal/DusselPeters_MonitorOFDI_2024_Esp.pdf" TargetMode="Externa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15.xml"/><Relationship Id="rId6" Type="http://schemas.openxmlformats.org/officeDocument/2006/relationships/chart" Target="../charts/chart1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1.bin"/><Relationship Id="rId9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redalc-china.org/monitor/images/pdfs/menuprincipal/DusselPeters_MonitorOFDI_2025_Esp.pdf" TargetMode="External"/><Relationship Id="rId3" Type="http://schemas.openxmlformats.org/officeDocument/2006/relationships/notesSlide" Target="../notesSlides/notesSlide4.xml"/><Relationship Id="rId7" Type="http://schemas.openxmlformats.org/officeDocument/2006/relationships/hyperlink" Target="https://www.redalc-china.org/monitor/images/pdfs/menuprincipal/DusselPeters_MonitorOFDI_2024_Esp.pdf" TargetMode="Externa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16.xml"/><Relationship Id="rId6" Type="http://schemas.openxmlformats.org/officeDocument/2006/relationships/chart" Target="../charts/chart3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redalc-china.org/monitor/images/pdfs/menuprincipal/DusselPeters_MonitorOFDI_2025_Esp.pdf" TargetMode="External"/><Relationship Id="rId3" Type="http://schemas.openxmlformats.org/officeDocument/2006/relationships/notesSlide" Target="../notesSlides/notesSlide5.xml"/><Relationship Id="rId7" Type="http://schemas.openxmlformats.org/officeDocument/2006/relationships/hyperlink" Target="https://www.redalc-china.org/monitor/images/pdfs/menuprincipal/DusselPeters_MonitorOFDI_2024_Esp.pdf" TargetMode="Externa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17.xml"/><Relationship Id="rId6" Type="http://schemas.openxmlformats.org/officeDocument/2006/relationships/chart" Target="../charts/chart4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hyperlink" Target="http://stats.customs.gov.cn/indexEn" TargetMode="Externa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18.xml"/><Relationship Id="rId6" Type="http://schemas.openxmlformats.org/officeDocument/2006/relationships/chart" Target="../charts/chart5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2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F5CFB25-DF26-1D05-FE57-492D6073AD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2949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5CFB25-DF26-1D05-FE57-492D6073A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471CDB4-7999-B5AA-C639-BD885F2138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vert="horz"/>
          <a:lstStyle/>
          <a:p>
            <a:r>
              <a:rPr lang="en-US" dirty="0"/>
              <a:t>Presencia China </a:t>
            </a:r>
            <a:r>
              <a:rPr lang="en-US" dirty="0" err="1"/>
              <a:t>en</a:t>
            </a:r>
            <a:r>
              <a:rPr lang="en-US" dirty="0"/>
              <a:t> Chile y </a:t>
            </a:r>
            <a:r>
              <a:rPr lang="en-US" dirty="0" err="1"/>
              <a:t>Latinoamérica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9B31B6-3FF1-CF90-0A60-35A3A4AE40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ayo 2025</a:t>
            </a:r>
          </a:p>
        </p:txBody>
      </p:sp>
    </p:spTree>
    <p:extLst>
      <p:ext uri="{BB962C8B-B14F-4D97-AF65-F5344CB8AC3E}">
        <p14:creationId xmlns:p14="http://schemas.microsoft.com/office/powerpoint/2010/main" val="41722492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000C22-F45E-1613-6E1A-C3BF7771A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2EC98D34-21A9-D5B6-CF1F-2FBA8C1A7B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98D34-21A9-D5B6-CF1F-2FBA8C1A7B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uadroTexto 1">
            <a:extLst>
              <a:ext uri="{FF2B5EF4-FFF2-40B4-BE49-F238E27FC236}">
                <a16:creationId xmlns:a16="http://schemas.microsoft.com/office/drawing/2014/main" id="{0BFD6330-58A9-4485-5C25-6415B5DA3EC0}"/>
              </a:ext>
            </a:extLst>
          </p:cNvPr>
          <p:cNvSpPr txBox="1"/>
          <p:nvPr/>
        </p:nvSpPr>
        <p:spPr>
          <a:xfrm>
            <a:off x="558392" y="5418482"/>
            <a:ext cx="2033460" cy="2308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251460" marR="0" lvl="0" indent="-25146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s-CL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*En Millones de US$</a:t>
            </a:r>
          </a:p>
        </p:txBody>
      </p:sp>
      <p:graphicFrame>
        <p:nvGraphicFramePr>
          <p:cNvPr id="13" name="Gráfico 1">
            <a:extLst>
              <a:ext uri="{FF2B5EF4-FFF2-40B4-BE49-F238E27FC236}">
                <a16:creationId xmlns:a16="http://schemas.microsoft.com/office/drawing/2014/main" id="{11CA9F6D-F56F-A175-C677-E4A7BE5892E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12918151"/>
              </p:ext>
            </p:extLst>
          </p:nvPr>
        </p:nvGraphicFramePr>
        <p:xfrm>
          <a:off x="382652" y="1855415"/>
          <a:ext cx="5954685" cy="35543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Rectangle 582">
            <a:extLst>
              <a:ext uri="{FF2B5EF4-FFF2-40B4-BE49-F238E27FC236}">
                <a16:creationId xmlns:a16="http://schemas.microsoft.com/office/drawing/2014/main" id="{00FD3E4A-421A-B6C7-0BB8-9C0E8C14B98D}"/>
              </a:ext>
            </a:extLst>
          </p:cNvPr>
          <p:cNvSpPr/>
          <p:nvPr/>
        </p:nvSpPr>
        <p:spPr>
          <a:xfrm>
            <a:off x="7104112" y="1362251"/>
            <a:ext cx="5040560" cy="38323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C5720C3-8DBA-84D9-B31B-003E64EC26FE}"/>
              </a:ext>
            </a:extLst>
          </p:cNvPr>
          <p:cNvSpPr txBox="1"/>
          <p:nvPr/>
        </p:nvSpPr>
        <p:spPr>
          <a:xfrm>
            <a:off x="7371856" y="1718806"/>
            <a:ext cx="4511907" cy="28623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La inversión China en Chile ha tenido variaciones a lo largo del tiempo, con períodos de desinversión seguidos de alza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LA IED e</a:t>
            </a: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stableció su </a:t>
            </a:r>
            <a:r>
              <a:rPr kumimoji="0" lang="es-C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peak</a:t>
            </a: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en 2022 con una inversión de US$ 288 millon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onsiderando sus inicios a la fecha (2012-2023) podemos ver un aumento del 1000% pasando de US$ 6 millones a US$ 66 millones.</a:t>
            </a:r>
          </a:p>
        </p:txBody>
      </p:sp>
      <p:sp>
        <p:nvSpPr>
          <p:cNvPr id="20" name="CuadroTexto 2">
            <a:extLst>
              <a:ext uri="{FF2B5EF4-FFF2-40B4-BE49-F238E27FC236}">
                <a16:creationId xmlns:a16="http://schemas.microsoft.com/office/drawing/2014/main" id="{160ABD3F-54C9-DA6E-3D6A-7DE5B7EF7DC9}"/>
              </a:ext>
            </a:extLst>
          </p:cNvPr>
          <p:cNvSpPr txBox="1"/>
          <p:nvPr/>
        </p:nvSpPr>
        <p:spPr>
          <a:xfrm>
            <a:off x="334501" y="6214545"/>
            <a:ext cx="2188420" cy="26161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Fuente: Banco Central de Chile </a:t>
            </a:r>
            <a:endParaRPr kumimoji="0" lang="es-CL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E0A62C7-C2F1-0F8F-6EE1-4796DC3CC9A2}"/>
              </a:ext>
            </a:extLst>
          </p:cNvPr>
          <p:cNvSpPr txBox="1">
            <a:spLocks/>
          </p:cNvSpPr>
          <p:nvPr/>
        </p:nvSpPr>
        <p:spPr>
          <a:xfrm>
            <a:off x="379993" y="444974"/>
            <a:ext cx="10470108" cy="638328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600" b="1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Inversión extranjera directa China - Chi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" panose="02000503020000020004" pitchFamily="2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1282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áfico 1" descr="Tipo de gráfico: Columnas agrupadas, Líneas. &quot;Campo2&quot;, &quot;Campo3&quot; por &quot;Campo1&quot;&#10;&#10;Descripción generada automáticamente">
            <a:extLst>
              <a:ext uri="{FF2B5EF4-FFF2-40B4-BE49-F238E27FC236}">
                <a16:creationId xmlns:a16="http://schemas.microsoft.com/office/drawing/2014/main" id="{244D2A55-F28B-D5F0-63A9-F4CA447444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9933115"/>
              </p:ext>
            </p:extLst>
          </p:nvPr>
        </p:nvGraphicFramePr>
        <p:xfrm>
          <a:off x="5303912" y="1425270"/>
          <a:ext cx="6709104" cy="3443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4A1C96CD-F162-B14F-1492-2F346656D121}"/>
              </a:ext>
            </a:extLst>
          </p:cNvPr>
          <p:cNvSpPr txBox="1">
            <a:spLocks/>
          </p:cNvSpPr>
          <p:nvPr/>
        </p:nvSpPr>
        <p:spPr>
          <a:xfrm>
            <a:off x="379993" y="444974"/>
            <a:ext cx="10470108" cy="638328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s-CL">
                <a:latin typeface="EYInterstate"/>
                <a:cs typeface="Arial"/>
              </a:rPr>
              <a:t>Inversión China – Chile*</a:t>
            </a:r>
            <a:endParaRPr lang="en-US"/>
          </a:p>
        </p:txBody>
      </p:sp>
      <p:sp>
        <p:nvSpPr>
          <p:cNvPr id="8" name="CuadroTexto 2">
            <a:extLst>
              <a:ext uri="{FF2B5EF4-FFF2-40B4-BE49-F238E27FC236}">
                <a16:creationId xmlns:a16="http://schemas.microsoft.com/office/drawing/2014/main" id="{A602FE72-D216-DE9A-084A-3219BE4633B6}"/>
              </a:ext>
            </a:extLst>
          </p:cNvPr>
          <p:cNvSpPr txBox="1"/>
          <p:nvPr/>
        </p:nvSpPr>
        <p:spPr>
          <a:xfrm>
            <a:off x="7295" y="6601232"/>
            <a:ext cx="6211914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L" sz="1100">
                <a:solidFill>
                  <a:schemeClr val="bg1"/>
                </a:solidFill>
              </a:rPr>
              <a:t>Fuente: </a:t>
            </a:r>
            <a:r>
              <a:rPr lang="es-CL" sz="1100">
                <a:solidFill>
                  <a:schemeClr val="bg1"/>
                </a:solidFill>
                <a:hlinkClick r:id="rId4"/>
              </a:rPr>
              <a:t>Nucleo milenio ICLAC Repositorio Regional de Inversiones Chinas en América Latina</a:t>
            </a:r>
            <a:endParaRPr lang="es-CL" sz="1100">
              <a:solidFill>
                <a:schemeClr val="bg1"/>
              </a:solidFill>
            </a:endParaRPr>
          </a:p>
        </p:txBody>
      </p:sp>
      <p:sp>
        <p:nvSpPr>
          <p:cNvPr id="11" name="Rectangle 582">
            <a:extLst>
              <a:ext uri="{FF2B5EF4-FFF2-40B4-BE49-F238E27FC236}">
                <a16:creationId xmlns:a16="http://schemas.microsoft.com/office/drawing/2014/main" id="{BC08263D-46EF-AACD-E00B-2C18E3804A03}"/>
              </a:ext>
            </a:extLst>
          </p:cNvPr>
          <p:cNvSpPr/>
          <p:nvPr/>
        </p:nvSpPr>
        <p:spPr>
          <a:xfrm>
            <a:off x="17169" y="1244731"/>
            <a:ext cx="5070719" cy="38404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00C5807-A9A5-C74E-E0EB-7B238F96001A}"/>
              </a:ext>
            </a:extLst>
          </p:cNvPr>
          <p:cNvSpPr txBox="1"/>
          <p:nvPr/>
        </p:nvSpPr>
        <p:spPr>
          <a:xfrm>
            <a:off x="210180" y="1341923"/>
            <a:ext cx="4863297" cy="424731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L" dirty="0">
                <a:solidFill>
                  <a:schemeClr val="bg1"/>
                </a:solidFill>
                <a:ea typeface="+mn-lt"/>
                <a:cs typeface="+mn-lt"/>
              </a:rPr>
              <a:t>La inversión ha tenido fluctuaciones significativas a lo largo de los años. 2018 se destaca por un notable aumento, alcanzando US$ 5,540 M y 8 proyectos, lo que refleja un fuerte interés en el sector. Sin embargo, este crecimiento fue seguido por una disminución en los años siguientes, con inversiones que cayeron a US$ 275 M en 2022. A pesar de esta tendencia a la baja, se observa una recuperación en 2023, con US$ 898.6 M y 6 proyectos, lo que sugiere un renovado interés y potencial para el crecimiento en el futuro.</a:t>
            </a:r>
          </a:p>
          <a:p>
            <a:r>
              <a:rPr lang="es-CL" dirty="0">
                <a:ea typeface="+mn-lt"/>
                <a:cs typeface="+mn-lt"/>
              </a:rPr>
              <a:t>Se </a:t>
            </a:r>
            <a:br>
              <a:rPr lang="es-CL" dirty="0">
                <a:solidFill>
                  <a:schemeClr val="bg1"/>
                </a:solidFill>
                <a:ea typeface="+mn-lt"/>
                <a:cs typeface="+mn-lt"/>
              </a:rPr>
            </a:b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4589A7-A1D2-5315-839D-21B00DF68E92}"/>
              </a:ext>
            </a:extLst>
          </p:cNvPr>
          <p:cNvSpPr txBox="1"/>
          <p:nvPr/>
        </p:nvSpPr>
        <p:spPr>
          <a:xfrm>
            <a:off x="130496" y="5982139"/>
            <a:ext cx="10153846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L" sz="1100" dirty="0">
                <a:solidFill>
                  <a:schemeClr val="bg1"/>
                </a:solidFill>
                <a:ea typeface="+mn-lt"/>
                <a:cs typeface="+mn-lt"/>
              </a:rPr>
              <a:t>*Se puede observar que, a diferencia de la inversión directa, que no era tan significativa, muchos proyectos e inversiones no se reflejan como inversión directa. Es a través de esta variable que podemos apreciar cómo China se posiciona como uno de los principales inversores en Chile.</a:t>
            </a:r>
            <a:endParaRPr lang="en-US" sz="1100" dirty="0">
              <a:solidFill>
                <a:schemeClr val="bg1"/>
              </a:solidFill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934527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E3D568-9F63-EE1E-BF8E-5EFA4F75D7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2">
            <a:extLst>
              <a:ext uri="{FF2B5EF4-FFF2-40B4-BE49-F238E27FC236}">
                <a16:creationId xmlns:a16="http://schemas.microsoft.com/office/drawing/2014/main" id="{17456B02-A9FB-F7B3-43C7-41855E7241B3}"/>
              </a:ext>
            </a:extLst>
          </p:cNvPr>
          <p:cNvSpPr txBox="1"/>
          <p:nvPr/>
        </p:nvSpPr>
        <p:spPr>
          <a:xfrm>
            <a:off x="7295" y="6601232"/>
            <a:ext cx="6211914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L" sz="1100">
                <a:solidFill>
                  <a:schemeClr val="bg1"/>
                </a:solidFill>
              </a:rPr>
              <a:t>Fuente: </a:t>
            </a:r>
            <a:r>
              <a:rPr lang="es-CL" sz="1100">
                <a:solidFill>
                  <a:schemeClr val="bg1"/>
                </a:solidFill>
                <a:hlinkClick r:id="rId2"/>
              </a:rPr>
              <a:t>Nucleo milenio ICLAC Repositorio Regional de Inversiones Chinas en América Latina</a:t>
            </a:r>
            <a:endParaRPr lang="es-CL" sz="1100">
              <a:solidFill>
                <a:schemeClr val="bg1"/>
              </a:solidFill>
            </a:endParaRPr>
          </a:p>
        </p:txBody>
      </p:sp>
      <p:graphicFrame>
        <p:nvGraphicFramePr>
          <p:cNvPr id="8" name="Gráfico 3">
            <a:extLst>
              <a:ext uri="{FF2B5EF4-FFF2-40B4-BE49-F238E27FC236}">
                <a16:creationId xmlns:a16="http://schemas.microsoft.com/office/drawing/2014/main" id="{A5DFCCE0-1227-1A50-AAAC-750847340F15}"/>
              </a:ext>
              <a:ext uri="{147F2762-F138-4A5C-976F-8EAC2B608ADB}">
                <a16:predDERef xmlns:a16="http://schemas.microsoft.com/office/drawing/2014/main" pred="{9BB0334B-C11B-4207-34B0-E9B20CFD71F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5675039"/>
              </p:ext>
            </p:extLst>
          </p:nvPr>
        </p:nvGraphicFramePr>
        <p:xfrm>
          <a:off x="482873" y="1273619"/>
          <a:ext cx="5973167" cy="4777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7E8CF8BD-909E-95D6-55F1-B275D964D51D}"/>
              </a:ext>
            </a:extLst>
          </p:cNvPr>
          <p:cNvSpPr txBox="1">
            <a:spLocks/>
          </p:cNvSpPr>
          <p:nvPr/>
        </p:nvSpPr>
        <p:spPr>
          <a:xfrm>
            <a:off x="379993" y="444974"/>
            <a:ext cx="10470108" cy="638328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s-CL">
                <a:latin typeface="EYInterstate"/>
                <a:cs typeface="Arial"/>
              </a:rPr>
              <a:t>Inversión China - Chile</a:t>
            </a:r>
            <a:endParaRPr lang="en-US"/>
          </a:p>
        </p:txBody>
      </p:sp>
      <p:sp>
        <p:nvSpPr>
          <p:cNvPr id="12" name="Rectangle 582">
            <a:extLst>
              <a:ext uri="{FF2B5EF4-FFF2-40B4-BE49-F238E27FC236}">
                <a16:creationId xmlns:a16="http://schemas.microsoft.com/office/drawing/2014/main" id="{ABB7A5CE-30AF-D836-47D4-3519D9C22911}"/>
              </a:ext>
            </a:extLst>
          </p:cNvPr>
          <p:cNvSpPr/>
          <p:nvPr/>
        </p:nvSpPr>
        <p:spPr>
          <a:xfrm>
            <a:off x="7032105" y="2037849"/>
            <a:ext cx="5159896" cy="275930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CA5461B-6561-C330-FF7C-46F48A6D41F4}"/>
              </a:ext>
            </a:extLst>
          </p:cNvPr>
          <p:cNvSpPr txBox="1"/>
          <p:nvPr/>
        </p:nvSpPr>
        <p:spPr>
          <a:xfrm>
            <a:off x="7464152" y="2416820"/>
            <a:ext cx="4320480" cy="23083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L" dirty="0">
                <a:solidFill>
                  <a:schemeClr val="bg1"/>
                </a:solidFill>
                <a:ea typeface="+mn-lt"/>
                <a:cs typeface="+mn-lt"/>
              </a:rPr>
              <a:t>El mecanismo de inversión preferido varía por industria, mientras que en energía, minería y agronomía se prefiere la adquisición, en infraestructura y bienes raíces se prefiere la construcción. </a:t>
            </a:r>
          </a:p>
          <a:p>
            <a:r>
              <a:rPr lang="es-CL" dirty="0">
                <a:ea typeface="+mn-lt"/>
                <a:cs typeface="+mn-lt"/>
              </a:rPr>
              <a:t> </a:t>
            </a:r>
            <a:br>
              <a:rPr lang="es-CL" dirty="0">
                <a:solidFill>
                  <a:schemeClr val="bg1"/>
                </a:solidFill>
                <a:ea typeface="+mn-lt"/>
                <a:cs typeface="+mn-lt"/>
              </a:rPr>
            </a:br>
            <a:endParaRPr lang="es-C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966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CAAEE4-11DB-B399-3096-02CB716D08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BF5D2E05-52DF-124C-36CD-AD7F14657A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5D2E05-52DF-124C-36CD-AD7F14657A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D0B3ED92-1792-75FF-58A4-05AFC756B157}"/>
              </a:ext>
            </a:extLst>
          </p:cNvPr>
          <p:cNvSpPr txBox="1">
            <a:spLocks/>
          </p:cNvSpPr>
          <p:nvPr/>
        </p:nvSpPr>
        <p:spPr>
          <a:xfrm>
            <a:off x="379993" y="480007"/>
            <a:ext cx="8092271" cy="603295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6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Una sólida tradición de intercambio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" panose="02000503020000020004" pitchFamily="2" charset="0"/>
              <a:ea typeface="+mj-ea"/>
              <a:cs typeface="Arial" pitchFamily="34" charset="0"/>
            </a:endParaRPr>
          </a:p>
        </p:txBody>
      </p:sp>
      <p:sp>
        <p:nvSpPr>
          <p:cNvPr id="4" name="Rectangle 582">
            <a:extLst>
              <a:ext uri="{FF2B5EF4-FFF2-40B4-BE49-F238E27FC236}">
                <a16:creationId xmlns:a16="http://schemas.microsoft.com/office/drawing/2014/main" id="{206EC7B2-83BC-9EF4-51C6-62FB9D61C8C1}"/>
              </a:ext>
            </a:extLst>
          </p:cNvPr>
          <p:cNvSpPr/>
          <p:nvPr/>
        </p:nvSpPr>
        <p:spPr>
          <a:xfrm>
            <a:off x="15427" y="1518076"/>
            <a:ext cx="12176573" cy="398059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D3ABE70-FE19-20E1-C3E0-720DCE37A448}"/>
              </a:ext>
            </a:extLst>
          </p:cNvPr>
          <p:cNvSpPr txBox="1"/>
          <p:nvPr/>
        </p:nvSpPr>
        <p:spPr>
          <a:xfrm>
            <a:off x="201421" y="1513944"/>
            <a:ext cx="11797296" cy="424731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lt"/>
              <a:cs typeface="+mn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Una historia compartida: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Chile fue el primer socio comercial de la región de China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En 2025 se cumplen 55 años de relación diplomática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Chile forma parte del </a:t>
            </a:r>
            <a:r>
              <a:rPr kumimoji="0" lang="es-C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Belt</a:t>
            </a: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Road </a:t>
            </a:r>
            <a:r>
              <a:rPr kumimoji="0" lang="es-C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Initative</a:t>
            </a: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desde 2021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lt"/>
              <a:cs typeface="+mn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Acuerdos comerciales: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El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Tratad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de Libre Comercio (TLC) entre China y Chile,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firmad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e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18 d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noviemb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de 2005 y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vigo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desd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e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1 d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octub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de 2006,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marcó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un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hi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significativ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al se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e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primer TLC de China con un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paí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de América Latina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El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acuerd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par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evita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la dobl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imposició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entre China y Chile,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firmad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e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25 de mayo de 2015 y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vigo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desd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e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1 d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ener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de 2017,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tien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com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objetiv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preveni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la dobl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imposició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d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lo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ingreso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obtenido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po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resident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 de ambos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país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.</a:t>
            </a: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lt"/>
              <a:cs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lt"/>
              <a:cs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  <a:t>Se </a:t>
            </a:r>
            <a:br>
              <a:rPr kumimoji="0" lang="es-CL" sz="1800" b="0" i="0" u="none" strike="noStrike" kern="1200" cap="none" spc="0" normalizeH="0" baseline="0" noProof="0" dirty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  <a:latin typeface="EYInterstate Light"/>
                <a:ea typeface="+mn-lt"/>
                <a:cs typeface="+mn-lt"/>
              </a:rPr>
            </a:b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93462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0B2168-6EF8-6DCD-81DD-52A959304C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9B4CF2E8-6E92-50B6-F55A-5737E390AA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4689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4CF2E8-6E92-50B6-F55A-5737E390AA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5244DA2C-126B-4962-5DFA-B5C1AC0EAC23}"/>
              </a:ext>
            </a:extLst>
          </p:cNvPr>
          <p:cNvSpPr txBox="1">
            <a:spLocks/>
          </p:cNvSpPr>
          <p:nvPr/>
        </p:nvSpPr>
        <p:spPr>
          <a:xfrm>
            <a:off x="379993" y="480007"/>
            <a:ext cx="8092271" cy="603295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6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El comercio entre China y Chile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" panose="02000503020000020004" pitchFamily="2" charset="0"/>
              <a:ea typeface="+mj-ea"/>
              <a:cs typeface="Arial" pitchFamily="34" charset="0"/>
            </a:endParaRPr>
          </a:p>
        </p:txBody>
      </p:sp>
      <p:sp>
        <p:nvSpPr>
          <p:cNvPr id="4" name="Rectangle 582">
            <a:extLst>
              <a:ext uri="{FF2B5EF4-FFF2-40B4-BE49-F238E27FC236}">
                <a16:creationId xmlns:a16="http://schemas.microsoft.com/office/drawing/2014/main" id="{DB666688-9D3E-6819-F189-6929770D1B88}"/>
              </a:ext>
            </a:extLst>
          </p:cNvPr>
          <p:cNvSpPr/>
          <p:nvPr/>
        </p:nvSpPr>
        <p:spPr>
          <a:xfrm>
            <a:off x="15427" y="1518076"/>
            <a:ext cx="12176573" cy="335108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" name="TextBox 9">
            <a:extLst>
              <a:ext uri="{FF2B5EF4-FFF2-40B4-BE49-F238E27FC236}">
                <a16:creationId xmlns:a16="http://schemas.microsoft.com/office/drawing/2014/main" id="{91CF0736-85A1-7D13-0E2E-653EC8BC9DA1}"/>
              </a:ext>
            </a:extLst>
          </p:cNvPr>
          <p:cNvSpPr txBox="1"/>
          <p:nvPr/>
        </p:nvSpPr>
        <p:spPr>
          <a:xfrm>
            <a:off x="958752" y="1844824"/>
            <a:ext cx="4320480" cy="2862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s-CL" b="1" dirty="0">
                <a:solidFill>
                  <a:schemeClr val="bg1"/>
                </a:solidFill>
              </a:rPr>
              <a:t>Importaciones: desde China a Chile</a:t>
            </a:r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Chart 10">
            <a:extLst>
              <a:ext uri="{FF2B5EF4-FFF2-40B4-BE49-F238E27FC236}">
                <a16:creationId xmlns:a16="http://schemas.microsoft.com/office/drawing/2014/main" id="{A78FDD04-B2C6-34CB-F567-5E9E202AF93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9434431"/>
              </p:ext>
            </p:extLst>
          </p:nvPr>
        </p:nvGraphicFramePr>
        <p:xfrm>
          <a:off x="5517182" y="2300082"/>
          <a:ext cx="6096000" cy="22593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TextBox 11">
            <a:extLst>
              <a:ext uri="{FF2B5EF4-FFF2-40B4-BE49-F238E27FC236}">
                <a16:creationId xmlns:a16="http://schemas.microsoft.com/office/drawing/2014/main" id="{DBABA2DA-A386-7F4B-4A19-37CD699B5ABF}"/>
              </a:ext>
            </a:extLst>
          </p:cNvPr>
          <p:cNvSpPr txBox="1"/>
          <p:nvPr/>
        </p:nvSpPr>
        <p:spPr>
          <a:xfrm>
            <a:off x="6572622" y="1844824"/>
            <a:ext cx="4320480" cy="2862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s-CL" b="1" dirty="0">
                <a:solidFill>
                  <a:schemeClr val="bg1"/>
                </a:solidFill>
              </a:rPr>
              <a:t>Exportaciones: desde Chile a China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9" name="Content Placeholder 13">
            <a:extLst>
              <a:ext uri="{FF2B5EF4-FFF2-40B4-BE49-F238E27FC236}">
                <a16:creationId xmlns:a16="http://schemas.microsoft.com/office/drawing/2014/main" id="{ADE7FF10-F00E-1F56-BA9A-43959BACA2AE}"/>
              </a:ext>
            </a:extLst>
          </p:cNvPr>
          <p:cNvSpPr txBox="1">
            <a:spLocks/>
          </p:cNvSpPr>
          <p:nvPr/>
        </p:nvSpPr>
        <p:spPr>
          <a:xfrm>
            <a:off x="952763" y="5157192"/>
            <a:ext cx="10657184" cy="2219326"/>
          </a:xfrm>
          <a:prstGeom prst="rect">
            <a:avLst/>
          </a:prstGeom>
        </p:spPr>
        <p:txBody>
          <a:bodyPr/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Font typeface="Wingdings" pitchFamily="2" charset="2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El </a:t>
            </a:r>
            <a:r>
              <a:rPr lang="en-US" sz="1800" dirty="0" err="1"/>
              <a:t>comercio</a:t>
            </a:r>
            <a:r>
              <a:rPr lang="en-US" sz="1800" dirty="0"/>
              <a:t> entre China y Chile ha </a:t>
            </a:r>
            <a:r>
              <a:rPr lang="en-US" sz="1800" dirty="0" err="1"/>
              <a:t>aumentado</a:t>
            </a:r>
            <a:r>
              <a:rPr lang="en-US" sz="1800" dirty="0"/>
              <a:t> de </a:t>
            </a:r>
            <a:r>
              <a:rPr lang="en-US" sz="1800" dirty="0" err="1"/>
              <a:t>manera</a:t>
            </a:r>
            <a:r>
              <a:rPr lang="en-US" sz="1800" dirty="0"/>
              <a:t> </a:t>
            </a:r>
            <a:r>
              <a:rPr lang="en-US" sz="1800" dirty="0" err="1"/>
              <a:t>siginificativa</a:t>
            </a:r>
            <a:r>
              <a:rPr lang="en-US" sz="1800" dirty="0"/>
              <a:t> </a:t>
            </a:r>
            <a:r>
              <a:rPr lang="en-US" sz="1800" dirty="0" err="1"/>
              <a:t>en</a:t>
            </a:r>
            <a:r>
              <a:rPr lang="en-US" sz="1800" dirty="0"/>
              <a:t> </a:t>
            </a:r>
            <a:r>
              <a:rPr lang="en-US" sz="1800" dirty="0" err="1"/>
              <a:t>los</a:t>
            </a:r>
            <a:r>
              <a:rPr lang="en-US" sz="1800" dirty="0"/>
              <a:t> </a:t>
            </a:r>
            <a:r>
              <a:rPr lang="en-US" sz="1800" dirty="0" err="1"/>
              <a:t>últimos</a:t>
            </a:r>
            <a:r>
              <a:rPr lang="en-US" sz="1800" dirty="0"/>
              <a:t> 20 </a:t>
            </a:r>
            <a:r>
              <a:rPr lang="en-US" sz="1800" dirty="0" err="1"/>
              <a:t>años</a:t>
            </a:r>
            <a:r>
              <a:rPr lang="en-US" sz="1800" dirty="0"/>
              <a:t>.</a:t>
            </a:r>
          </a:p>
          <a:p>
            <a:r>
              <a:rPr lang="en-US" sz="1800" dirty="0"/>
              <a:t>El </a:t>
            </a:r>
            <a:r>
              <a:rPr lang="en-US" sz="1800" dirty="0" err="1"/>
              <a:t>porcentaje</a:t>
            </a:r>
            <a:r>
              <a:rPr lang="en-US" sz="1800" dirty="0"/>
              <a:t> de </a:t>
            </a:r>
            <a:r>
              <a:rPr lang="en-US" sz="1800" dirty="0" err="1"/>
              <a:t>participación</a:t>
            </a:r>
            <a:r>
              <a:rPr lang="en-US" sz="1800" dirty="0"/>
              <a:t> tanto de las </a:t>
            </a:r>
            <a:r>
              <a:rPr lang="en-US" sz="1800" dirty="0" err="1"/>
              <a:t>importaciones</a:t>
            </a:r>
            <a:r>
              <a:rPr lang="en-US" sz="1800" dirty="0"/>
              <a:t> </a:t>
            </a:r>
            <a:r>
              <a:rPr lang="en-US" sz="1800" dirty="0" err="1"/>
              <a:t>como</a:t>
            </a:r>
            <a:r>
              <a:rPr lang="en-US" sz="1800" dirty="0"/>
              <a:t> de las </a:t>
            </a:r>
            <a:r>
              <a:rPr lang="en-US" sz="1800" dirty="0" err="1"/>
              <a:t>exportaciones</a:t>
            </a:r>
            <a:r>
              <a:rPr lang="en-US" sz="1800" dirty="0"/>
              <a:t> es </a:t>
            </a:r>
            <a:r>
              <a:rPr lang="en-US" sz="1800" dirty="0" err="1"/>
              <a:t>muy</a:t>
            </a:r>
            <a:r>
              <a:rPr lang="en-US" sz="1800" dirty="0"/>
              <a:t> </a:t>
            </a:r>
            <a:r>
              <a:rPr lang="en-US" sz="1800" dirty="0" err="1"/>
              <a:t>relevante</a:t>
            </a:r>
            <a:r>
              <a:rPr lang="en-US" sz="1800" dirty="0"/>
              <a:t> para </a:t>
            </a:r>
            <a:r>
              <a:rPr lang="en-US" sz="1800" dirty="0" err="1"/>
              <a:t>el</a:t>
            </a:r>
            <a:r>
              <a:rPr lang="en-US" sz="1800" dirty="0"/>
              <a:t> mercado chileno. </a:t>
            </a:r>
          </a:p>
        </p:txBody>
      </p:sp>
      <p:graphicFrame>
        <p:nvGraphicFramePr>
          <p:cNvPr id="2" name="Chart 8">
            <a:extLst>
              <a:ext uri="{FF2B5EF4-FFF2-40B4-BE49-F238E27FC236}">
                <a16:creationId xmlns:a16="http://schemas.microsoft.com/office/drawing/2014/main" id="{00679C14-2871-AC58-D892-6254E22311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6827593"/>
              </p:ext>
            </p:extLst>
          </p:nvPr>
        </p:nvGraphicFramePr>
        <p:xfrm>
          <a:off x="-96688" y="2300082"/>
          <a:ext cx="6096000" cy="22593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TextBox 16">
            <a:extLst>
              <a:ext uri="{FF2B5EF4-FFF2-40B4-BE49-F238E27FC236}">
                <a16:creationId xmlns:a16="http://schemas.microsoft.com/office/drawing/2014/main" id="{068AD45B-1A42-7D01-3554-BC0F18B49940}"/>
              </a:ext>
            </a:extLst>
          </p:cNvPr>
          <p:cNvSpPr txBox="1"/>
          <p:nvPr/>
        </p:nvSpPr>
        <p:spPr>
          <a:xfrm>
            <a:off x="551384" y="6260778"/>
            <a:ext cx="2680862" cy="203133"/>
          </a:xfrm>
          <a:prstGeom prst="rect">
            <a:avLst/>
          </a:prstGeom>
          <a:noFill/>
        </p:spPr>
        <p:txBody>
          <a:bodyPr wrap="non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Fuente: </a:t>
            </a:r>
            <a:r>
              <a:rPr lang="en-US" sz="1200" dirty="0" err="1">
                <a:solidFill>
                  <a:schemeClr val="bg1"/>
                </a:solidFill>
              </a:rPr>
              <a:t>Servicios</a:t>
            </a:r>
            <a:r>
              <a:rPr lang="en-US" sz="1200" dirty="0">
                <a:solidFill>
                  <a:schemeClr val="bg1"/>
                </a:solidFill>
              </a:rPr>
              <a:t> Nacional de </a:t>
            </a:r>
            <a:r>
              <a:rPr lang="en-US" sz="1200" dirty="0" err="1">
                <a:solidFill>
                  <a:schemeClr val="bg1"/>
                </a:solidFill>
              </a:rPr>
              <a:t>Aduanas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2554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137CFF-FB92-CDD6-9C04-AB86C1DF74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902170C-E338-95F9-A190-02B89E1A22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618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02170C-E338-95F9-A190-02B89E1A22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20926EE-A1AF-13A5-B50E-6B04A0D1B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482433" cy="2869882"/>
          </a:xfrm>
        </p:spPr>
        <p:txBody>
          <a:bodyPr vert="horz"/>
          <a:lstStyle/>
          <a:p>
            <a:r>
              <a:rPr lang="es-CL" dirty="0"/>
              <a:t>Últimos años: Reforzando los lazos en medio de la incertidumbr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9FF2FBA-D967-C099-6BF2-B0CE6318050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13798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BA3C8A-7A02-FB00-59B3-02503DB8B2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24D37D-3D66-14B8-4FF6-08DEC91EEC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24D37D-3D66-14B8-4FF6-08DEC91EEC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E7D5D518-680B-D170-AB97-45F468ADF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363" y="430641"/>
            <a:ext cx="10515600" cy="911283"/>
          </a:xfrm>
        </p:spPr>
        <p:txBody>
          <a:bodyPr vert="horz"/>
          <a:lstStyle/>
          <a:p>
            <a:r>
              <a:rPr lang="es-CL" dirty="0">
                <a:latin typeface="EYInterstate"/>
                <a:cs typeface="Arial"/>
              </a:rPr>
              <a:t>China ha </a:t>
            </a:r>
            <a:r>
              <a:rPr lang="es-CL" dirty="0" err="1">
                <a:latin typeface="EYInterstate"/>
                <a:cs typeface="Arial"/>
              </a:rPr>
              <a:t>estao</a:t>
            </a:r>
            <a:r>
              <a:rPr lang="es-CL" dirty="0">
                <a:latin typeface="EYInterstate"/>
                <a:cs typeface="Arial"/>
              </a:rPr>
              <a:t> reforzando su posicionamiento en Latinoamérica</a:t>
            </a:r>
            <a:endParaRPr lang="en-US" dirty="0"/>
          </a:p>
        </p:txBody>
      </p:sp>
      <p:sp>
        <p:nvSpPr>
          <p:cNvPr id="8" name="TextBox 1">
            <a:extLst>
              <a:ext uri="{FF2B5EF4-FFF2-40B4-BE49-F238E27FC236}">
                <a16:creationId xmlns:a16="http://schemas.microsoft.com/office/drawing/2014/main" id="{7632241C-E0D0-CED8-BE65-653EE75FCE3A}"/>
              </a:ext>
            </a:extLst>
          </p:cNvPr>
          <p:cNvSpPr txBox="1"/>
          <p:nvPr/>
        </p:nvSpPr>
        <p:spPr>
          <a:xfrm>
            <a:off x="209549" y="6342622"/>
            <a:ext cx="5229225" cy="454540"/>
          </a:xfrm>
          <a:prstGeom prst="rect">
            <a:avLst/>
          </a:prstGeom>
          <a:noFill/>
        </p:spPr>
        <p:txBody>
          <a:bodyPr wrap="square" numCol="1" rtlCol="0">
            <a:no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  <a:hlinkClick r:id="rId6"/>
              </a:rPr>
              <a:t>https://english.news.cn/20241113/7d7b2ac7a88946a1a01e1e61ae8e2bb0/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  <a:hlinkClick r:id="rId7"/>
              </a:rPr>
              <a:t>https://www.reuters.com/world/china-latin-america-trade-exceeded-500-billion-2024-2025-05-13/</a:t>
            </a:r>
            <a:endParaRPr lang="en-US" sz="1000">
              <a:solidFill>
                <a:schemeClr val="bg1"/>
              </a:solidFill>
              <a:latin typeface="Calibri Light" panose="020F03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+mj-lt"/>
              <a:buAutoNum type="arabicPeriod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+mj-lt"/>
              <a:buAutoNum type="arabicPeriod"/>
              <a:tabLst/>
              <a:defRPr/>
            </a:pPr>
            <a:endParaRPr kumimoji="0" lang="es-CL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160AF64-8D2C-9C93-69FD-F5294A190917}"/>
              </a:ext>
            </a:extLst>
          </p:cNvPr>
          <p:cNvCxnSpPr>
            <a:cxnSpLocks/>
          </p:cNvCxnSpPr>
          <p:nvPr/>
        </p:nvCxnSpPr>
        <p:spPr>
          <a:xfrm>
            <a:off x="305363" y="6257925"/>
            <a:ext cx="11581274" cy="0"/>
          </a:xfrm>
          <a:prstGeom prst="line">
            <a:avLst/>
          </a:prstGeom>
          <a:ln>
            <a:solidFill>
              <a:srgbClr val="C4C4C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F9BF193A-1CCA-B745-A7DF-9A7EC352FA0D}"/>
              </a:ext>
            </a:extLst>
          </p:cNvPr>
          <p:cNvSpPr/>
          <p:nvPr/>
        </p:nvSpPr>
        <p:spPr>
          <a:xfrm>
            <a:off x="316736" y="1556792"/>
            <a:ext cx="3258984" cy="39067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216000" rIns="252000" bIns="45720" rtlCol="0" anchor="t"/>
          <a:lstStyle/>
          <a:p>
            <a:pPr>
              <a:defRPr/>
            </a:pPr>
            <a:r>
              <a:rPr lang="en-US" sz="1600" dirty="0" err="1">
                <a:solidFill>
                  <a:schemeClr val="tx2"/>
                </a:solidFill>
                <a:ea typeface="+mn-lt"/>
                <a:cs typeface="+mn-lt"/>
              </a:rPr>
              <a:t>Desde</a:t>
            </a:r>
            <a:r>
              <a:rPr lang="en-US" sz="1600" dirty="0">
                <a:solidFill>
                  <a:schemeClr val="tx2"/>
                </a:solidFill>
                <a:ea typeface="+mn-lt"/>
                <a:cs typeface="+mn-lt"/>
              </a:rPr>
              <a:t> </a:t>
            </a:r>
            <a:r>
              <a:rPr lang="en-US" sz="1600" dirty="0" err="1">
                <a:solidFill>
                  <a:schemeClr val="tx2"/>
                </a:solidFill>
                <a:ea typeface="+mn-lt"/>
                <a:cs typeface="+mn-lt"/>
              </a:rPr>
              <a:t>los</a:t>
            </a:r>
            <a:r>
              <a:rPr lang="en-US" sz="1600" dirty="0">
                <a:solidFill>
                  <a:schemeClr val="tx2"/>
                </a:solidFill>
                <a:ea typeface="+mn-lt"/>
                <a:cs typeface="+mn-lt"/>
              </a:rPr>
              <a:t> </a:t>
            </a:r>
            <a:r>
              <a:rPr lang="en-US" sz="1600" dirty="0" err="1">
                <a:solidFill>
                  <a:schemeClr val="tx2"/>
                </a:solidFill>
                <a:ea typeface="+mn-lt"/>
                <a:cs typeface="+mn-lt"/>
              </a:rPr>
              <a:t>últimas</a:t>
            </a:r>
            <a:r>
              <a:rPr lang="en-US" sz="1600" dirty="0">
                <a:solidFill>
                  <a:schemeClr val="tx2"/>
                </a:solidFill>
                <a:ea typeface="+mn-lt"/>
                <a:cs typeface="+mn-lt"/>
              </a:rPr>
              <a:t> dos </a:t>
            </a:r>
            <a:r>
              <a:rPr lang="en-US" sz="1600" dirty="0" err="1">
                <a:solidFill>
                  <a:schemeClr val="tx2"/>
                </a:solidFill>
                <a:ea typeface="+mn-lt"/>
                <a:cs typeface="+mn-lt"/>
              </a:rPr>
              <a:t>décadas</a:t>
            </a:r>
            <a:r>
              <a:rPr lang="en-US" sz="1600" dirty="0">
                <a:solidFill>
                  <a:schemeClr val="tx2"/>
                </a:solidFill>
                <a:ea typeface="+mn-lt"/>
                <a:cs typeface="+mn-lt"/>
              </a:rPr>
              <a:t> China ha </a:t>
            </a:r>
            <a:r>
              <a:rPr lang="en-US" sz="1600" dirty="0" err="1">
                <a:solidFill>
                  <a:schemeClr val="tx2"/>
                </a:solidFill>
                <a:ea typeface="+mn-lt"/>
                <a:cs typeface="+mn-lt"/>
              </a:rPr>
              <a:t>reforzado</a:t>
            </a:r>
            <a:r>
              <a:rPr lang="en-US" sz="1600" dirty="0">
                <a:solidFill>
                  <a:schemeClr val="tx2"/>
                </a:solidFill>
                <a:ea typeface="+mn-lt"/>
                <a:cs typeface="+mn-lt"/>
              </a:rPr>
              <a:t> </a:t>
            </a:r>
            <a:r>
              <a:rPr lang="en-US" sz="1600" dirty="0" err="1">
                <a:solidFill>
                  <a:schemeClr val="tx2"/>
                </a:solidFill>
                <a:ea typeface="+mn-lt"/>
                <a:cs typeface="+mn-lt"/>
              </a:rPr>
              <a:t>su</a:t>
            </a:r>
            <a:r>
              <a:rPr lang="en-US" sz="1600" dirty="0">
                <a:solidFill>
                  <a:schemeClr val="tx2"/>
                </a:solidFill>
                <a:ea typeface="+mn-lt"/>
                <a:cs typeface="+mn-lt"/>
              </a:rPr>
              <a:t> </a:t>
            </a:r>
            <a:r>
              <a:rPr lang="en-US" sz="1600" dirty="0" err="1">
                <a:solidFill>
                  <a:schemeClr val="tx2"/>
                </a:solidFill>
                <a:ea typeface="+mn-lt"/>
                <a:cs typeface="+mn-lt"/>
              </a:rPr>
              <a:t>presencia</a:t>
            </a:r>
            <a:r>
              <a:rPr lang="en-US" sz="1600" dirty="0">
                <a:solidFill>
                  <a:schemeClr val="tx2"/>
                </a:solidFill>
                <a:ea typeface="+mn-lt"/>
                <a:cs typeface="+mn-lt"/>
              </a:rPr>
              <a:t> </a:t>
            </a:r>
            <a:r>
              <a:rPr lang="en-US" sz="1600" dirty="0" err="1">
                <a:solidFill>
                  <a:schemeClr val="tx2"/>
                </a:solidFill>
                <a:ea typeface="+mn-lt"/>
                <a:cs typeface="+mn-lt"/>
              </a:rPr>
              <a:t>en</a:t>
            </a:r>
            <a:r>
              <a:rPr lang="en-US" sz="1600" dirty="0">
                <a:solidFill>
                  <a:schemeClr val="tx2"/>
                </a:solidFill>
                <a:ea typeface="+mn-lt"/>
                <a:cs typeface="+mn-lt"/>
              </a:rPr>
              <a:t> </a:t>
            </a:r>
            <a:r>
              <a:rPr lang="en-US" sz="1600" dirty="0" err="1">
                <a:solidFill>
                  <a:schemeClr val="tx2"/>
                </a:solidFill>
                <a:ea typeface="+mn-lt"/>
                <a:cs typeface="+mn-lt"/>
              </a:rPr>
              <a:t>Latinoamérica</a:t>
            </a:r>
            <a:r>
              <a:rPr lang="en-US" sz="1600" dirty="0">
                <a:solidFill>
                  <a:schemeClr val="tx2"/>
                </a:solidFill>
                <a:ea typeface="+mn-lt"/>
                <a:cs typeface="+mn-lt"/>
              </a:rPr>
              <a:t>. </a:t>
            </a:r>
          </a:p>
          <a:p>
            <a:pPr>
              <a:defRPr/>
            </a:pPr>
            <a:endParaRPr lang="en-US" sz="1600" dirty="0">
              <a:solidFill>
                <a:schemeClr val="tx2"/>
              </a:solidFill>
              <a:ea typeface="+mn-lt"/>
              <a:cs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L" sz="1400" b="0" i="0" dirty="0">
                <a:solidFill>
                  <a:schemeClr val="tx2"/>
                </a:solidFill>
                <a:effectLst/>
              </a:rPr>
              <a:t>El presidente Xi ha viajado cinco veces a Latinoamérica y ha visitado 11 países de la región</a:t>
            </a:r>
            <a:r>
              <a:rPr lang="es-CL" sz="1400" b="0" i="0" baseline="30000" dirty="0">
                <a:solidFill>
                  <a:schemeClr val="tx2"/>
                </a:solidFill>
                <a:effectLst/>
              </a:rPr>
              <a:t>1</a:t>
            </a:r>
            <a:r>
              <a:rPr lang="es-CL" sz="1400" b="0" i="0" dirty="0">
                <a:solidFill>
                  <a:schemeClr val="tx2"/>
                </a:solidFill>
                <a:effectLst/>
              </a:rPr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s-CL" sz="1400" b="0" i="0" dirty="0">
              <a:solidFill>
                <a:schemeClr val="tx2"/>
              </a:solidFill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L" sz="1400" b="0" i="0" dirty="0">
                <a:solidFill>
                  <a:schemeClr val="tx2"/>
                </a:solidFill>
                <a:effectLst/>
              </a:rPr>
              <a:t>Se ha reunido en 4 ocasiones con el presidente </a:t>
            </a:r>
            <a:r>
              <a:rPr lang="es-CL" sz="1400" b="0" i="0" dirty="0" err="1">
                <a:solidFill>
                  <a:schemeClr val="tx2"/>
                </a:solidFill>
                <a:effectLst/>
              </a:rPr>
              <a:t>Boric</a:t>
            </a:r>
            <a:r>
              <a:rPr lang="es-CL" sz="1400" b="0" i="0" dirty="0">
                <a:solidFill>
                  <a:schemeClr val="tx2"/>
                </a:solidFill>
                <a:effectLst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s-CL" sz="14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L" sz="1400" b="0" i="0" dirty="0">
                <a:solidFill>
                  <a:schemeClr val="tx2"/>
                </a:solidFill>
                <a:effectLst/>
              </a:rPr>
              <a:t>En los dos últimos años ha incrementado estos esfuerzos. </a:t>
            </a:r>
          </a:p>
          <a:p>
            <a:pPr>
              <a:defRPr/>
            </a:pPr>
            <a:endParaRPr lang="en-US" sz="1500" dirty="0">
              <a:solidFill>
                <a:schemeClr val="bg1"/>
              </a:solidFill>
              <a:ea typeface="+mn-lt"/>
              <a:cs typeface="+mn-lt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636DA39-FB6F-B585-C7C7-DAEF8B674B29}"/>
              </a:ext>
            </a:extLst>
          </p:cNvPr>
          <p:cNvGrpSpPr/>
          <p:nvPr/>
        </p:nvGrpSpPr>
        <p:grpSpPr>
          <a:xfrm>
            <a:off x="3382851" y="1556792"/>
            <a:ext cx="8419566" cy="3906779"/>
            <a:chOff x="3382851" y="1811338"/>
            <a:chExt cx="8419566" cy="390677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F64D0C2-0DD2-C958-A385-736652BC8FA3}"/>
                </a:ext>
              </a:extLst>
            </p:cNvPr>
            <p:cNvSpPr/>
            <p:nvPr/>
          </p:nvSpPr>
          <p:spPr>
            <a:xfrm>
              <a:off x="7896200" y="1811338"/>
              <a:ext cx="3906217" cy="3906779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216000" rIns="252000" bIns="45720" rtlCol="0" anchor="t"/>
            <a:lstStyle/>
            <a:p>
              <a:pPr>
                <a:defRPr/>
              </a:pPr>
              <a:r>
                <a:rPr lang="es-CL" sz="1600" dirty="0">
                  <a:solidFill>
                    <a:schemeClr val="tx2"/>
                  </a:solidFill>
                </a:rPr>
                <a:t>2025: Foro China-CELAC en plena guerra comercial</a:t>
              </a:r>
            </a:p>
            <a:p>
              <a:pPr>
                <a:defRPr/>
              </a:pPr>
              <a:endParaRPr lang="es-CL" sz="1600" dirty="0">
                <a:solidFill>
                  <a:schemeClr val="bg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s-CL" sz="1400" dirty="0">
                  <a:solidFill>
                    <a:schemeClr val="bg1"/>
                  </a:solidFill>
                </a:rPr>
                <a:t>Mayo de 2025 se realiza el 4to encuentro con la participación de los presidentes de Chile, Brasil y Colombia.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endParaRPr lang="es-CL" sz="1400" dirty="0">
                <a:solidFill>
                  <a:schemeClr val="bg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s-CL" sz="1400" dirty="0">
                  <a:solidFill>
                    <a:schemeClr val="bg1"/>
                  </a:solidFill>
                </a:rPr>
                <a:t>Se hace hincapié en la importancia del libre comercio, una crítica velada a la política de EE.UU.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endParaRPr lang="es-CL" sz="1400" dirty="0">
                <a:solidFill>
                  <a:schemeClr val="bg1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s-CL" sz="1400" dirty="0">
                  <a:solidFill>
                    <a:schemeClr val="bg1"/>
                  </a:solidFill>
                </a:rPr>
                <a:t>Se firman nuevos acuerdos de cooperación y China ofrece nueva línea de crédito (+ USD </a:t>
              </a:r>
              <a:r>
                <a:rPr lang="es-CL" sz="1400" b="0" i="0" dirty="0">
                  <a:solidFill>
                    <a:schemeClr val="bg1"/>
                  </a:solidFill>
                  <a:effectLst/>
                </a:rPr>
                <a:t>9.200 millones) </a:t>
              </a:r>
              <a:r>
                <a:rPr lang="es-CL" sz="1400" baseline="30000" dirty="0">
                  <a:solidFill>
                    <a:schemeClr val="bg1"/>
                  </a:solidFill>
                </a:rPr>
                <a:t>2</a:t>
              </a:r>
              <a:r>
                <a:rPr lang="es-CL" sz="1400" dirty="0">
                  <a:solidFill>
                    <a:schemeClr val="bg1"/>
                  </a:solidFill>
                </a:rPr>
                <a:t>. 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5B9B1C5-ABF9-4BBD-C3A2-92F5314B263E}"/>
                </a:ext>
              </a:extLst>
            </p:cNvPr>
            <p:cNvSpPr/>
            <p:nvPr/>
          </p:nvSpPr>
          <p:spPr>
            <a:xfrm>
              <a:off x="3382851" y="1811338"/>
              <a:ext cx="274749" cy="3906779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17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CF0E8F17-4EAC-DA8B-6E5D-38CF4171F4B0}"/>
              </a:ext>
            </a:extLst>
          </p:cNvPr>
          <p:cNvSpPr/>
          <p:nvPr/>
        </p:nvSpPr>
        <p:spPr>
          <a:xfrm>
            <a:off x="8809149" y="1556792"/>
            <a:ext cx="274749" cy="3906779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17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9A1AA727-7C02-45BB-DE44-B9088054EBAC}"/>
              </a:ext>
            </a:extLst>
          </p:cNvPr>
          <p:cNvSpPr/>
          <p:nvPr/>
        </p:nvSpPr>
        <p:spPr>
          <a:xfrm>
            <a:off x="3845128" y="1556792"/>
            <a:ext cx="3762200" cy="39067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216000" rIns="252000" bIns="45720" rtlCol="0" anchor="t"/>
          <a:lstStyle/>
          <a:p>
            <a:pPr>
              <a:defRPr/>
            </a:pPr>
            <a:r>
              <a:rPr lang="en-US" sz="1600" dirty="0">
                <a:solidFill>
                  <a:schemeClr val="tx2"/>
                </a:solidFill>
                <a:ea typeface="+mn-lt"/>
                <a:cs typeface="+mn-lt"/>
              </a:rPr>
              <a:t>2024: China </a:t>
            </a:r>
            <a:r>
              <a:rPr lang="en-US" sz="1600" dirty="0" err="1">
                <a:solidFill>
                  <a:schemeClr val="tx2"/>
                </a:solidFill>
                <a:ea typeface="+mn-lt"/>
                <a:cs typeface="+mn-lt"/>
              </a:rPr>
              <a:t>promueve</a:t>
            </a:r>
            <a:r>
              <a:rPr lang="en-US" sz="1600" dirty="0">
                <a:solidFill>
                  <a:schemeClr val="tx2"/>
                </a:solidFill>
                <a:ea typeface="+mn-lt"/>
                <a:cs typeface="+mn-lt"/>
              </a:rPr>
              <a:t> </a:t>
            </a:r>
            <a:r>
              <a:rPr lang="en-US" sz="1600" dirty="0" err="1">
                <a:solidFill>
                  <a:schemeClr val="tx2"/>
                </a:solidFill>
                <a:ea typeface="+mn-lt"/>
                <a:cs typeface="+mn-lt"/>
              </a:rPr>
              <a:t>multilateralismo</a:t>
            </a:r>
            <a:r>
              <a:rPr lang="en-US" sz="1600" dirty="0">
                <a:solidFill>
                  <a:schemeClr val="tx2"/>
                </a:solidFill>
                <a:ea typeface="+mn-lt"/>
                <a:cs typeface="+mn-lt"/>
              </a:rPr>
              <a:t> con Latam</a:t>
            </a:r>
          </a:p>
          <a:p>
            <a:pPr>
              <a:defRPr/>
            </a:pPr>
            <a:endParaRPr lang="en-US" sz="1400" dirty="0">
              <a:ea typeface="+mn-lt"/>
              <a:cs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L" sz="1400" dirty="0">
                <a:solidFill>
                  <a:schemeClr val="bg1"/>
                </a:solidFill>
              </a:rPr>
              <a:t>Gira del Pdte. Xi en </a:t>
            </a:r>
            <a:r>
              <a:rPr lang="es-CL" sz="1400" dirty="0" err="1">
                <a:solidFill>
                  <a:schemeClr val="bg1"/>
                </a:solidFill>
              </a:rPr>
              <a:t>Latam</a:t>
            </a:r>
            <a:r>
              <a:rPr lang="es-CL" sz="1400" dirty="0">
                <a:solidFill>
                  <a:schemeClr val="bg1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L" sz="1400" dirty="0">
                <a:solidFill>
                  <a:schemeClr val="bg1"/>
                </a:solidFill>
              </a:rPr>
              <a:t>Asiste a la 31ª Reunión de Líderes Económicos de APEC (Perú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s-CL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L" sz="1400" dirty="0">
                <a:solidFill>
                  <a:schemeClr val="bg1"/>
                </a:solidFill>
              </a:rPr>
              <a:t>Realiza una visita de Estado a Perú e inaugura el puerto de Chancay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s-CL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L" sz="1400" dirty="0">
                <a:solidFill>
                  <a:schemeClr val="bg1"/>
                </a:solidFill>
              </a:rPr>
              <a:t>Asiste a la 19ª Cumbre del G20 y realiza una visita de Estado a Brasil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s-CL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L" sz="1400" dirty="0">
                <a:solidFill>
                  <a:schemeClr val="bg1"/>
                </a:solidFill>
              </a:rPr>
              <a:t>Firma 60 acuerdos de cooperación</a:t>
            </a:r>
          </a:p>
          <a:p>
            <a:pPr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5017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6AFB9C-B975-2C44-9939-D91ED21203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FB2C067-D571-755E-F905-5D565BAE6A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B2C067-D571-755E-F905-5D565BAE6A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5A8A1C0-E0EE-230C-97F8-1CF6BB5350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vert="horz"/>
          <a:lstStyle/>
          <a:p>
            <a:r>
              <a:rPr lang="en-US" dirty="0"/>
              <a:t>Presencia China </a:t>
            </a:r>
            <a:r>
              <a:rPr lang="en-US" dirty="0" err="1"/>
              <a:t>en</a:t>
            </a:r>
            <a:r>
              <a:rPr lang="en-US" dirty="0"/>
              <a:t> Chile y </a:t>
            </a:r>
            <a:r>
              <a:rPr lang="en-US" dirty="0" err="1"/>
              <a:t>Latinoamérica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57FFDBD-8BA8-097C-5504-E5AFD628EF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ayo 2025</a:t>
            </a:r>
          </a:p>
        </p:txBody>
      </p:sp>
    </p:spTree>
    <p:extLst>
      <p:ext uri="{BB962C8B-B14F-4D97-AF65-F5344CB8AC3E}">
        <p14:creationId xmlns:p14="http://schemas.microsoft.com/office/powerpoint/2010/main" val="19359398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1770CB-C8AA-43FB-9770-22AC8B99C5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1770CB-C8AA-43FB-9770-22AC8B99C5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076900-B460-4150-A2B8-65A93466B9E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799" b="1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4BBA922F-4D87-4669-B5CE-37D0953776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314506" y="-406979"/>
            <a:ext cx="4724460" cy="3835979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F233150E-B7D2-4912-B40F-A291A3904220}"/>
              </a:ext>
            </a:extLst>
          </p:cNvPr>
          <p:cNvSpPr/>
          <p:nvPr/>
        </p:nvSpPr>
        <p:spPr>
          <a:xfrm>
            <a:off x="2712334" y="1667803"/>
            <a:ext cx="696410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s-CL" sz="4800" dirty="0">
                <a:solidFill>
                  <a:schemeClr val="tx2"/>
                </a:solidFill>
                <a:latin typeface="Georgia" panose="02040502050405020303" pitchFamily="18" charset="0"/>
              </a:rPr>
              <a:t>危机</a:t>
            </a:r>
            <a:r>
              <a:rPr lang="es-CL" altLang="zh-CN" sz="4800" dirty="0">
                <a:solidFill>
                  <a:schemeClr val="tx2"/>
                </a:solidFill>
                <a:latin typeface="Georgia" panose="02040502050405020303" pitchFamily="18" charset="0"/>
              </a:rPr>
              <a:t>– Riesgos &amp; Oportunidades </a:t>
            </a:r>
            <a:r>
              <a:rPr lang="en-US" sz="4800" dirty="0">
                <a:solidFill>
                  <a:schemeClr val="tx2"/>
                </a:solidFill>
                <a:latin typeface="Georgia" panose="02040502050405020303" pitchFamily="18" charset="0"/>
              </a:rPr>
              <a:t>”</a:t>
            </a:r>
          </a:p>
          <a:p>
            <a:pPr algn="r"/>
            <a:endParaRPr lang="en-US" sz="2400" b="1" dirty="0">
              <a:solidFill>
                <a:schemeClr val="bg1"/>
              </a:solidFill>
            </a:endParaRPr>
          </a:p>
          <a:p>
            <a:pPr algn="r"/>
            <a:r>
              <a:rPr lang="es-CL" sz="2400" b="1" dirty="0">
                <a:solidFill>
                  <a:schemeClr val="bg1"/>
                </a:solidFill>
              </a:rPr>
              <a:t>Definición de crisis en Chino</a:t>
            </a:r>
          </a:p>
        </p:txBody>
      </p:sp>
    </p:spTree>
    <p:extLst>
      <p:ext uri="{BB962C8B-B14F-4D97-AF65-F5344CB8AC3E}">
        <p14:creationId xmlns:p14="http://schemas.microsoft.com/office/powerpoint/2010/main" val="20453717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29410D6-7799-2F5D-6DEE-F505A520C7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8562553" cy="2869882"/>
          </a:xfrm>
        </p:spPr>
        <p:txBody>
          <a:bodyPr/>
          <a:lstStyle/>
          <a:p>
            <a:r>
              <a:rPr lang="es-CL" dirty="0"/>
              <a:t>Inversión y comercio entre China y Latinoamérica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A2DEFCE-FAF4-E0A6-2D08-51296297409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10353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FFAFAB-1AC6-4CA1-2A61-44AB7B930F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FFAFAB-1AC6-4CA1-2A61-44AB7B930F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A1692349-1F51-112C-4966-CB2BB6C5DD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363" y="430641"/>
            <a:ext cx="10515600" cy="911283"/>
          </a:xfrm>
        </p:spPr>
        <p:txBody>
          <a:bodyPr vert="horz"/>
          <a:lstStyle/>
          <a:p>
            <a:r>
              <a:rPr lang="es-CL">
                <a:latin typeface="EYInterstate"/>
                <a:cs typeface="Arial"/>
              </a:rPr>
              <a:t>Presencia China en la región</a:t>
            </a:r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E978F88-0681-E610-F0DF-99C3ADBF14B5}"/>
              </a:ext>
            </a:extLst>
          </p:cNvPr>
          <p:cNvGrpSpPr/>
          <p:nvPr/>
        </p:nvGrpSpPr>
        <p:grpSpPr>
          <a:xfrm>
            <a:off x="209549" y="6342622"/>
            <a:ext cx="11906251" cy="454540"/>
            <a:chOff x="95249" y="6316707"/>
            <a:chExt cx="11906251" cy="454540"/>
          </a:xfrm>
        </p:grpSpPr>
        <p:sp>
          <p:nvSpPr>
            <p:cNvPr id="8" name="TextBox 1">
              <a:extLst>
                <a:ext uri="{FF2B5EF4-FFF2-40B4-BE49-F238E27FC236}">
                  <a16:creationId xmlns:a16="http://schemas.microsoft.com/office/drawing/2014/main" id="{45DC9158-61C7-432A-999E-691893BDB3A7}"/>
                </a:ext>
              </a:extLst>
            </p:cNvPr>
            <p:cNvSpPr txBox="1"/>
            <p:nvPr/>
          </p:nvSpPr>
          <p:spPr>
            <a:xfrm>
              <a:off x="95249" y="6316707"/>
              <a:ext cx="5229225" cy="454540"/>
            </a:xfrm>
            <a:prstGeom prst="rect">
              <a:avLst/>
            </a:prstGeom>
            <a:noFill/>
          </p:spPr>
          <p:txBody>
            <a:bodyPr wrap="square" numCol="1" rtlCol="0">
              <a:noAutofit/>
            </a:bodyPr>
            <a:lstStyle/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Review of various articles of specialized press regarding China and its business with LAC.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  <a:hlinkClick r:id="rId6"/>
                </a:rPr>
                <a:t>China's OFDI Monitor in Latin America and the Caribbean 2024</a:t>
              </a:r>
              <a:endParaRPr kumimoji="0" lang="es-CL" sz="1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12" name="TextBox 1">
              <a:extLst>
                <a:ext uri="{FF2B5EF4-FFF2-40B4-BE49-F238E27FC236}">
                  <a16:creationId xmlns:a16="http://schemas.microsoft.com/office/drawing/2014/main" id="{49C3B667-E20D-B631-CCCE-7AD397B1A120}"/>
                </a:ext>
              </a:extLst>
            </p:cNvPr>
            <p:cNvSpPr txBox="1"/>
            <p:nvPr/>
          </p:nvSpPr>
          <p:spPr>
            <a:xfrm>
              <a:off x="5829299" y="6316707"/>
              <a:ext cx="6172201" cy="454540"/>
            </a:xfrm>
            <a:prstGeom prst="rect">
              <a:avLst/>
            </a:prstGeom>
            <a:noFill/>
          </p:spPr>
          <p:txBody>
            <a:bodyPr wrap="square" numCol="1" rtlCol="0">
              <a:noAutofit/>
            </a:bodyPr>
            <a:lstStyle/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SzTx/>
                <a:buFont typeface="+mj-lt"/>
                <a:buAutoNum type="arabicPeriod" startAt="3"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Publication Americas Quarterly 03/01/2023 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www.americasquarterly.org/article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SzTx/>
                <a:buFont typeface="+mj-lt"/>
                <a:buAutoNum type="arabicPeriod" startAt="3"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Review of information from customs offices of some LAC countries regarding imports and exports with China.</a:t>
              </a:r>
              <a:endParaRPr kumimoji="0" lang="es-CL" sz="10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235CAA6-AA3C-0C0E-3183-F1BCBA095EC1}"/>
              </a:ext>
            </a:extLst>
          </p:cNvPr>
          <p:cNvCxnSpPr>
            <a:cxnSpLocks/>
          </p:cNvCxnSpPr>
          <p:nvPr/>
        </p:nvCxnSpPr>
        <p:spPr>
          <a:xfrm>
            <a:off x="305363" y="6257925"/>
            <a:ext cx="11581274" cy="0"/>
          </a:xfrm>
          <a:prstGeom prst="line">
            <a:avLst/>
          </a:prstGeom>
          <a:ln>
            <a:solidFill>
              <a:srgbClr val="C4C4C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DD48F7D3-69C1-47BE-3EF2-DD8ACE56B8FF}"/>
              </a:ext>
            </a:extLst>
          </p:cNvPr>
          <p:cNvSpPr/>
          <p:nvPr/>
        </p:nvSpPr>
        <p:spPr>
          <a:xfrm>
            <a:off x="316736" y="1556792"/>
            <a:ext cx="3077488" cy="39067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216000" rIns="252000" bIns="45720" rtlCol="0" anchor="t"/>
          <a:lstStyle/>
          <a:p>
            <a:pPr>
              <a:defRPr/>
            </a:pPr>
            <a:r>
              <a:rPr lang="en-US" sz="1500">
                <a:ea typeface="+mn-lt"/>
                <a:cs typeface="+mn-lt"/>
              </a:rPr>
              <a:t>En </a:t>
            </a:r>
            <a:r>
              <a:rPr lang="en-US" sz="1500" err="1">
                <a:ea typeface="+mn-lt"/>
                <a:cs typeface="+mn-lt"/>
              </a:rPr>
              <a:t>los</a:t>
            </a:r>
            <a:r>
              <a:rPr lang="en-US" sz="1500">
                <a:ea typeface="+mn-lt"/>
                <a:cs typeface="+mn-lt"/>
              </a:rPr>
              <a:t> </a:t>
            </a:r>
            <a:r>
              <a:rPr lang="en-US" sz="1500" err="1">
                <a:ea typeface="+mn-lt"/>
                <a:cs typeface="+mn-lt"/>
              </a:rPr>
              <a:t>últimos</a:t>
            </a:r>
            <a:r>
              <a:rPr lang="en-US" sz="1500">
                <a:ea typeface="+mn-lt"/>
                <a:cs typeface="+mn-lt"/>
              </a:rPr>
              <a:t> </a:t>
            </a:r>
            <a:r>
              <a:rPr lang="en-US" sz="1500" err="1">
                <a:ea typeface="+mn-lt"/>
                <a:cs typeface="+mn-lt"/>
              </a:rPr>
              <a:t>años</a:t>
            </a:r>
            <a:r>
              <a:rPr lang="en-US" sz="1500">
                <a:ea typeface="+mn-lt"/>
                <a:cs typeface="+mn-lt"/>
              </a:rPr>
              <a:t>,</a:t>
            </a:r>
            <a:r>
              <a:rPr lang="en-US" sz="1500">
                <a:solidFill>
                  <a:srgbClr val="FFFF00"/>
                </a:solidFill>
                <a:latin typeface="EYInterstate Light"/>
              </a:rPr>
              <a:t> la </a:t>
            </a:r>
            <a:r>
              <a:rPr lang="en-US" sz="1500" err="1">
                <a:solidFill>
                  <a:srgbClr val="FFFF00"/>
                </a:solidFill>
                <a:latin typeface="EYInterstate Light"/>
              </a:rPr>
              <a:t>inversión</a:t>
            </a:r>
            <a:r>
              <a:rPr lang="en-US" sz="1500">
                <a:solidFill>
                  <a:srgbClr val="FFFF00"/>
                </a:solidFill>
                <a:latin typeface="EYInterstate Light"/>
              </a:rPr>
              <a:t> </a:t>
            </a:r>
            <a:r>
              <a:rPr lang="en-US" sz="1500" err="1">
                <a:solidFill>
                  <a:srgbClr val="FFFF00"/>
                </a:solidFill>
                <a:latin typeface="EYInterstate Light"/>
              </a:rPr>
              <a:t>china</a:t>
            </a:r>
            <a:r>
              <a:rPr lang="en-US" sz="1500">
                <a:solidFill>
                  <a:srgbClr val="FFFF00"/>
                </a:solidFill>
                <a:latin typeface="EYInterstate Light"/>
              </a:rPr>
              <a:t> </a:t>
            </a:r>
            <a:r>
              <a:rPr lang="en-US" sz="1500" err="1">
                <a:solidFill>
                  <a:srgbClr val="FFFF00"/>
                </a:solidFill>
                <a:latin typeface="EYInterstate Light"/>
              </a:rPr>
              <a:t>en</a:t>
            </a:r>
            <a:r>
              <a:rPr lang="en-US" sz="1500">
                <a:solidFill>
                  <a:srgbClr val="FFFF00"/>
                </a:solidFill>
                <a:latin typeface="EYInterstate Light"/>
              </a:rPr>
              <a:t> América Latina ha </a:t>
            </a:r>
            <a:r>
              <a:rPr lang="en-US" sz="1500" err="1">
                <a:solidFill>
                  <a:srgbClr val="FFFF00"/>
                </a:solidFill>
                <a:latin typeface="EYInterstate Light"/>
              </a:rPr>
              <a:t>aumentado</a:t>
            </a:r>
            <a:r>
              <a:rPr lang="en-US" sz="1500">
                <a:solidFill>
                  <a:srgbClr val="FFFF00"/>
                </a:solidFill>
                <a:latin typeface="EYInterstate Light"/>
              </a:rPr>
              <a:t>,</a:t>
            </a:r>
            <a:r>
              <a:rPr lang="en-US" sz="1500">
                <a:ea typeface="+mn-lt"/>
                <a:cs typeface="+mn-lt"/>
              </a:rPr>
              <a:t> </a:t>
            </a:r>
            <a:r>
              <a:rPr lang="en-US" sz="1500" err="1">
                <a:ea typeface="+mn-lt"/>
                <a:cs typeface="+mn-lt"/>
              </a:rPr>
              <a:t>alineándose</a:t>
            </a:r>
            <a:r>
              <a:rPr lang="en-US" sz="1500">
                <a:ea typeface="+mn-lt"/>
                <a:cs typeface="+mn-lt"/>
              </a:rPr>
              <a:t> con </a:t>
            </a:r>
            <a:r>
              <a:rPr lang="en-US" sz="1500" err="1">
                <a:ea typeface="+mn-lt"/>
                <a:cs typeface="+mn-lt"/>
              </a:rPr>
              <a:t>el</a:t>
            </a:r>
            <a:r>
              <a:rPr lang="en-US" sz="1500">
                <a:ea typeface="+mn-lt"/>
                <a:cs typeface="+mn-lt"/>
              </a:rPr>
              <a:t> plan a 5 </a:t>
            </a:r>
            <a:r>
              <a:rPr lang="en-US" sz="1500" err="1">
                <a:ea typeface="+mn-lt"/>
                <a:cs typeface="+mn-lt"/>
              </a:rPr>
              <a:t>años</a:t>
            </a:r>
            <a:r>
              <a:rPr lang="en-US" sz="1500">
                <a:ea typeface="+mn-lt"/>
                <a:cs typeface="+mn-lt"/>
              </a:rPr>
              <a:t> de China</a:t>
            </a:r>
            <a:r>
              <a:rPr lang="en-US" sz="1500">
                <a:solidFill>
                  <a:srgbClr val="FFFF00"/>
                </a:solidFill>
                <a:latin typeface="EYInterstate Light"/>
              </a:rPr>
              <a:t> para </a:t>
            </a:r>
            <a:r>
              <a:rPr lang="en-US" sz="1500" err="1">
                <a:solidFill>
                  <a:srgbClr val="FFFF00"/>
                </a:solidFill>
                <a:latin typeface="EYInterstate Light"/>
              </a:rPr>
              <a:t>expandir</a:t>
            </a:r>
            <a:r>
              <a:rPr lang="en-US" sz="1500">
                <a:solidFill>
                  <a:srgbClr val="FFFF00"/>
                </a:solidFill>
                <a:latin typeface="EYInterstate Light"/>
              </a:rPr>
              <a:t> </a:t>
            </a:r>
            <a:r>
              <a:rPr lang="en-US" sz="1500" err="1">
                <a:solidFill>
                  <a:srgbClr val="FFFF00"/>
                </a:solidFill>
                <a:latin typeface="EYInterstate Light"/>
              </a:rPr>
              <a:t>su</a:t>
            </a:r>
            <a:r>
              <a:rPr lang="en-US" sz="1500">
                <a:solidFill>
                  <a:srgbClr val="FFFF00"/>
                </a:solidFill>
                <a:latin typeface="EYInterstate Light"/>
              </a:rPr>
              <a:t> </a:t>
            </a:r>
            <a:r>
              <a:rPr lang="en-US" sz="1500" err="1">
                <a:solidFill>
                  <a:srgbClr val="FFFF00"/>
                </a:solidFill>
                <a:latin typeface="EYInterstate Light"/>
              </a:rPr>
              <a:t>influencia</a:t>
            </a:r>
            <a:r>
              <a:rPr lang="en-US" sz="1500">
                <a:solidFill>
                  <a:srgbClr val="FFFF00"/>
                </a:solidFill>
                <a:latin typeface="EYInterstate Light"/>
              </a:rPr>
              <a:t> y </a:t>
            </a:r>
            <a:r>
              <a:rPr lang="en-US" sz="1500" err="1">
                <a:solidFill>
                  <a:srgbClr val="FFFF00"/>
                </a:solidFill>
                <a:latin typeface="EYInterstate Light"/>
              </a:rPr>
              <a:t>asegurar</a:t>
            </a:r>
            <a:r>
              <a:rPr lang="en-US" sz="1500">
                <a:solidFill>
                  <a:srgbClr val="FFFF00"/>
                </a:solidFill>
                <a:latin typeface="EYInterstate Light"/>
              </a:rPr>
              <a:t> </a:t>
            </a:r>
            <a:r>
              <a:rPr lang="en-US" sz="1500" err="1">
                <a:solidFill>
                  <a:srgbClr val="FFFF00"/>
                </a:solidFill>
                <a:latin typeface="EYInterstate Light"/>
              </a:rPr>
              <a:t>recursos</a:t>
            </a:r>
            <a:r>
              <a:rPr lang="en-US" sz="1500">
                <a:solidFill>
                  <a:srgbClr val="FFFF00"/>
                </a:solidFill>
                <a:latin typeface="EYInterstate Light"/>
              </a:rPr>
              <a:t> naturales</a:t>
            </a:r>
            <a:r>
              <a:rPr lang="en-US" sz="1500">
                <a:ea typeface="+mn-lt"/>
                <a:cs typeface="+mn-lt"/>
              </a:rPr>
              <a:t>. Los </a:t>
            </a:r>
            <a:r>
              <a:rPr lang="en-US" sz="1500" err="1">
                <a:ea typeface="+mn-lt"/>
                <a:cs typeface="+mn-lt"/>
              </a:rPr>
              <a:t>sectores</a:t>
            </a:r>
            <a:r>
              <a:rPr lang="en-US" sz="1500">
                <a:ea typeface="+mn-lt"/>
                <a:cs typeface="+mn-lt"/>
              </a:rPr>
              <a:t> clave de </a:t>
            </a:r>
            <a:r>
              <a:rPr lang="en-US" sz="1500" err="1">
                <a:ea typeface="+mn-lt"/>
                <a:cs typeface="+mn-lt"/>
              </a:rPr>
              <a:t>inversión</a:t>
            </a:r>
            <a:r>
              <a:rPr lang="en-US" sz="1500">
                <a:ea typeface="+mn-lt"/>
                <a:cs typeface="+mn-lt"/>
              </a:rPr>
              <a:t> </a:t>
            </a:r>
            <a:r>
              <a:rPr lang="en-US" sz="1500" err="1">
                <a:ea typeface="+mn-lt"/>
                <a:cs typeface="+mn-lt"/>
              </a:rPr>
              <a:t>incluyen</a:t>
            </a:r>
            <a:r>
              <a:rPr lang="en-US" sz="1500">
                <a:ea typeface="+mn-lt"/>
                <a:cs typeface="+mn-lt"/>
              </a:rPr>
              <a:t> </a:t>
            </a:r>
            <a:r>
              <a:rPr lang="en-US" sz="1500" err="1">
                <a:solidFill>
                  <a:srgbClr val="FFFF00"/>
                </a:solidFill>
                <a:ea typeface="+mn-lt"/>
                <a:cs typeface="+mn-lt"/>
              </a:rPr>
              <a:t>energía</a:t>
            </a:r>
            <a:r>
              <a:rPr lang="en-US" sz="1500">
                <a:solidFill>
                  <a:srgbClr val="FFFF00"/>
                </a:solidFill>
                <a:ea typeface="+mn-lt"/>
                <a:cs typeface="+mn-lt"/>
              </a:rPr>
              <a:t> </a:t>
            </a:r>
            <a:r>
              <a:rPr lang="en-US" sz="1500" err="1">
                <a:solidFill>
                  <a:srgbClr val="FFFF00"/>
                </a:solidFill>
                <a:ea typeface="+mn-lt"/>
                <a:cs typeface="+mn-lt"/>
              </a:rPr>
              <a:t>renovable</a:t>
            </a:r>
            <a:r>
              <a:rPr lang="en-US" sz="1500">
                <a:ea typeface="+mn-lt"/>
                <a:cs typeface="+mn-lt"/>
              </a:rPr>
              <a:t>, </a:t>
            </a:r>
            <a:r>
              <a:rPr lang="en-US" sz="1500" err="1">
                <a:solidFill>
                  <a:srgbClr val="FFFF00"/>
                </a:solidFill>
                <a:ea typeface="+mn-lt"/>
                <a:cs typeface="+mn-lt"/>
              </a:rPr>
              <a:t>minería</a:t>
            </a:r>
            <a:r>
              <a:rPr lang="en-US" sz="1500">
                <a:ea typeface="+mn-lt"/>
                <a:cs typeface="+mn-lt"/>
              </a:rPr>
              <a:t> (</a:t>
            </a:r>
            <a:r>
              <a:rPr lang="en-US" sz="1500" err="1">
                <a:ea typeface="+mn-lt"/>
                <a:cs typeface="+mn-lt"/>
              </a:rPr>
              <a:t>litio</a:t>
            </a:r>
            <a:r>
              <a:rPr lang="en-US" sz="1500">
                <a:ea typeface="+mn-lt"/>
                <a:cs typeface="+mn-lt"/>
              </a:rPr>
              <a:t> y </a:t>
            </a:r>
            <a:r>
              <a:rPr lang="en-US" sz="1500" err="1">
                <a:ea typeface="+mn-lt"/>
                <a:cs typeface="+mn-lt"/>
              </a:rPr>
              <a:t>cobre</a:t>
            </a:r>
            <a:r>
              <a:rPr lang="en-US" sz="1500">
                <a:ea typeface="+mn-lt"/>
                <a:cs typeface="+mn-lt"/>
              </a:rPr>
              <a:t>), </a:t>
            </a:r>
            <a:r>
              <a:rPr lang="en-US" sz="1500" err="1">
                <a:solidFill>
                  <a:srgbClr val="FFFF00"/>
                </a:solidFill>
                <a:ea typeface="+mn-lt"/>
                <a:cs typeface="+mn-lt"/>
              </a:rPr>
              <a:t>infraestructura</a:t>
            </a:r>
            <a:r>
              <a:rPr lang="en-US" sz="1500">
                <a:ea typeface="+mn-lt"/>
                <a:cs typeface="+mn-lt"/>
              </a:rPr>
              <a:t> y </a:t>
            </a:r>
            <a:r>
              <a:rPr lang="en-US" sz="1500">
                <a:solidFill>
                  <a:srgbClr val="FFFF00"/>
                </a:solidFill>
                <a:ea typeface="+mn-lt"/>
                <a:cs typeface="+mn-lt"/>
              </a:rPr>
              <a:t>telecomunicaciones</a:t>
            </a:r>
            <a:r>
              <a:rPr lang="en-US" sz="1500">
                <a:ea typeface="+mn-lt"/>
                <a:cs typeface="+mn-lt"/>
              </a:rPr>
              <a:t>.</a:t>
            </a:r>
            <a:r>
              <a:rPr lang="en-US" sz="1500" baseline="30000">
                <a:solidFill>
                  <a:srgbClr val="FFFF00"/>
                </a:solidFill>
                <a:latin typeface="EYInterstate Light"/>
              </a:rPr>
              <a:t>1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lt"/>
                <a:cs typeface="+mn-lt"/>
              </a:rPr>
              <a:t>.</a:t>
            </a:r>
            <a:endParaRPr lang="en-US">
              <a:solidFill>
                <a:schemeClr val="bg1"/>
              </a:solidFill>
              <a:ea typeface="+mn-lt"/>
              <a:cs typeface="+mn-lt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AF70A0C-D625-D6F4-AF69-4A09E77DCBA2}"/>
              </a:ext>
            </a:extLst>
          </p:cNvPr>
          <p:cNvGrpSpPr/>
          <p:nvPr/>
        </p:nvGrpSpPr>
        <p:grpSpPr>
          <a:xfrm>
            <a:off x="3382851" y="1556792"/>
            <a:ext cx="2348811" cy="3906779"/>
            <a:chOff x="3382851" y="1811338"/>
            <a:chExt cx="2348811" cy="390677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EB198B8-4A93-D629-EB03-C5E3A52A75D2}"/>
                </a:ext>
              </a:extLst>
            </p:cNvPr>
            <p:cNvSpPr/>
            <p:nvPr/>
          </p:nvSpPr>
          <p:spPr>
            <a:xfrm>
              <a:off x="3382851" y="1811338"/>
              <a:ext cx="2348811" cy="3906779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216000" rIns="252000" bIns="45720" rtlCol="0" anchor="t"/>
            <a:lstStyle/>
            <a:p>
              <a:pPr>
                <a:defRPr/>
              </a:pPr>
              <a:r>
                <a:rPr lang="en-US" sz="1500">
                  <a:solidFill>
                    <a:schemeClr val="bg1"/>
                  </a:solidFill>
                  <a:ea typeface="+mn-lt"/>
                  <a:cs typeface="+mn-lt"/>
                </a:rPr>
                <a:t>En </a:t>
              </a:r>
              <a:r>
                <a:rPr lang="en-US" sz="1500" err="1">
                  <a:solidFill>
                    <a:schemeClr val="bg1"/>
                  </a:solidFill>
                  <a:ea typeface="+mn-lt"/>
                  <a:cs typeface="+mn-lt"/>
                </a:rPr>
                <a:t>su</a:t>
              </a:r>
              <a:r>
                <a:rPr lang="en-US" sz="1500">
                  <a:solidFill>
                    <a:schemeClr val="bg1"/>
                  </a:solidFill>
                  <a:ea typeface="+mn-lt"/>
                  <a:cs typeface="+mn-lt"/>
                </a:rPr>
                <a:t> </a:t>
              </a:r>
              <a:r>
                <a:rPr lang="en-US" sz="1500" err="1">
                  <a:solidFill>
                    <a:schemeClr val="bg1"/>
                  </a:solidFill>
                  <a:ea typeface="+mn-lt"/>
                  <a:cs typeface="+mn-lt"/>
                </a:rPr>
                <a:t>proceso</a:t>
              </a:r>
              <a:r>
                <a:rPr lang="en-US" sz="1500">
                  <a:solidFill>
                    <a:schemeClr val="bg1"/>
                  </a:solidFill>
                  <a:ea typeface="+mn-lt"/>
                  <a:cs typeface="+mn-lt"/>
                </a:rPr>
                <a:t> de </a:t>
              </a:r>
              <a:r>
                <a:rPr lang="en-US" sz="1500" err="1">
                  <a:solidFill>
                    <a:schemeClr val="bg1"/>
                  </a:solidFill>
                  <a:ea typeface="+mn-lt"/>
                  <a:cs typeface="+mn-lt"/>
                </a:rPr>
                <a:t>fortalecer</a:t>
              </a:r>
              <a:r>
                <a:rPr lang="en-US" sz="1500">
                  <a:solidFill>
                    <a:schemeClr val="bg1"/>
                  </a:solidFill>
                  <a:ea typeface="+mn-lt"/>
                  <a:cs typeface="+mn-lt"/>
                </a:rPr>
                <a:t> las </a:t>
              </a:r>
              <a:r>
                <a:rPr lang="en-US" sz="1500" err="1">
                  <a:solidFill>
                    <a:schemeClr val="bg1"/>
                  </a:solidFill>
                  <a:ea typeface="+mn-lt"/>
                  <a:cs typeface="+mn-lt"/>
                </a:rPr>
                <a:t>relaciones</a:t>
              </a:r>
              <a:r>
                <a:rPr lang="en-US" sz="1500">
                  <a:solidFill>
                    <a:schemeClr val="bg1"/>
                  </a:solidFill>
                  <a:ea typeface="+mn-lt"/>
                  <a:cs typeface="+mn-lt"/>
                </a:rPr>
                <a:t> </a:t>
              </a:r>
              <a:r>
                <a:rPr lang="en-US" sz="1500" err="1">
                  <a:solidFill>
                    <a:schemeClr val="bg1"/>
                  </a:solidFill>
                  <a:ea typeface="+mn-lt"/>
                  <a:cs typeface="+mn-lt"/>
                </a:rPr>
                <a:t>comerciales</a:t>
              </a:r>
              <a:r>
                <a:rPr lang="en-US" sz="1500">
                  <a:solidFill>
                    <a:schemeClr val="bg1"/>
                  </a:solidFill>
                  <a:ea typeface="+mn-lt"/>
                  <a:cs typeface="+mn-lt"/>
                </a:rPr>
                <a:t> </a:t>
              </a:r>
              <a:r>
                <a:rPr lang="en-US" sz="1500" err="1">
                  <a:solidFill>
                    <a:schemeClr val="bg1"/>
                  </a:solidFill>
                  <a:ea typeface="+mn-lt"/>
                  <a:cs typeface="+mn-lt"/>
                </a:rPr>
                <a:t>en</a:t>
              </a:r>
              <a:r>
                <a:rPr lang="en-US" sz="1500">
                  <a:solidFill>
                    <a:schemeClr val="bg1"/>
                  </a:solidFill>
                  <a:ea typeface="+mn-lt"/>
                  <a:cs typeface="+mn-lt"/>
                </a:rPr>
                <a:t> LAC</a:t>
              </a: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lt"/>
                  <a:cs typeface="+mn-lt"/>
                </a:rPr>
                <a:t>, </a:t>
              </a:r>
              <a:r>
                <a:rPr lang="en-US" sz="1500">
                  <a:solidFill>
                    <a:schemeClr val="bg1"/>
                  </a:solidFill>
                  <a:ea typeface="+mn-lt"/>
                  <a:cs typeface="+mn-lt"/>
                </a:rPr>
                <a:t>ha </a:t>
              </a:r>
              <a:r>
                <a:rPr lang="en-US" sz="1500" err="1">
                  <a:solidFill>
                    <a:schemeClr val="bg1"/>
                  </a:solidFill>
                  <a:ea typeface="+mn-lt"/>
                  <a:cs typeface="+mn-lt"/>
                </a:rPr>
                <a:t>financiado</a:t>
              </a:r>
              <a:r>
                <a:rPr lang="en-US" sz="1500">
                  <a:solidFill>
                    <a:schemeClr val="bg1"/>
                  </a:solidFill>
                  <a:ea typeface="+mn-lt"/>
                  <a:cs typeface="+mn-lt"/>
                </a:rPr>
                <a:t> </a:t>
              </a:r>
              <a:r>
                <a:rPr lang="en-US" sz="1500" err="1">
                  <a:solidFill>
                    <a:schemeClr val="bg1"/>
                  </a:solidFill>
                  <a:ea typeface="+mn-lt"/>
                  <a:cs typeface="+mn-lt"/>
                </a:rPr>
                <a:t>importantes</a:t>
              </a:r>
              <a:r>
                <a:rPr lang="en-US" sz="1500">
                  <a:solidFill>
                    <a:schemeClr val="bg1"/>
                  </a:solidFill>
                  <a:ea typeface="+mn-lt"/>
                  <a:cs typeface="+mn-lt"/>
                </a:rPr>
                <a:t> </a:t>
              </a:r>
              <a:r>
                <a:rPr lang="en-US" sz="1500" err="1">
                  <a:solidFill>
                    <a:schemeClr val="bg1"/>
                  </a:solidFill>
                  <a:ea typeface="+mn-lt"/>
                  <a:cs typeface="+mn-lt"/>
                </a:rPr>
                <a:t>proyectos</a:t>
              </a: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lt"/>
                  <a:cs typeface="+mn-lt"/>
                </a:rPr>
                <a:t>.</a:t>
              </a:r>
              <a:br>
                <a:rPr lang="en-US" sz="1500">
                  <a:solidFill>
                    <a:srgbClr val="FFFF00"/>
                  </a:solidFill>
                  <a:latin typeface="EYInterstate Light"/>
                </a:rPr>
              </a:br>
              <a:r>
                <a:rPr lang="en-US" sz="1500" err="1">
                  <a:solidFill>
                    <a:srgbClr val="FFFF00"/>
                  </a:solidFill>
                  <a:ea typeface="+mn-lt"/>
                  <a:cs typeface="+mn-lt"/>
                </a:rPr>
                <a:t>Desde</a:t>
              </a:r>
              <a:r>
                <a:rPr lang="en-US" sz="1500">
                  <a:solidFill>
                    <a:srgbClr val="FFFF00"/>
                  </a:solidFill>
                  <a:ea typeface="+mn-lt"/>
                  <a:cs typeface="+mn-lt"/>
                </a:rPr>
                <a:t> </a:t>
              </a:r>
              <a:r>
                <a:rPr lang="en-US" sz="1500" err="1">
                  <a:solidFill>
                    <a:srgbClr val="FFFF00"/>
                  </a:solidFill>
                  <a:ea typeface="+mn-lt"/>
                  <a:cs typeface="+mn-lt"/>
                </a:rPr>
                <a:t>el</a:t>
              </a:r>
              <a:r>
                <a:rPr lang="en-US" sz="1500">
                  <a:solidFill>
                    <a:srgbClr val="FFFF00"/>
                  </a:solidFill>
                  <a:ea typeface="+mn-lt"/>
                  <a:cs typeface="+mn-lt"/>
                </a:rPr>
                <a:t> </a:t>
              </a:r>
              <a:r>
                <a:rPr lang="en-US" sz="1500" err="1">
                  <a:solidFill>
                    <a:srgbClr val="FFFF00"/>
                  </a:solidFill>
                  <a:ea typeface="+mn-lt"/>
                  <a:cs typeface="+mn-lt"/>
                </a:rPr>
                <a:t>año</a:t>
              </a:r>
              <a:r>
                <a:rPr lang="en-US" sz="1500">
                  <a:solidFill>
                    <a:srgbClr val="FFFF00"/>
                  </a:solidFill>
                  <a:ea typeface="+mn-lt"/>
                  <a:cs typeface="+mn-lt"/>
                </a:rPr>
                <a:t> 2000, China ha </a:t>
              </a:r>
              <a:r>
                <a:rPr lang="en-US" sz="1500" err="1">
                  <a:solidFill>
                    <a:srgbClr val="FFFF00"/>
                  </a:solidFill>
                  <a:ea typeface="+mn-lt"/>
                  <a:cs typeface="+mn-lt"/>
                </a:rPr>
                <a:t>invertido</a:t>
              </a:r>
              <a:r>
                <a:rPr lang="en-US" sz="1500">
                  <a:solidFill>
                    <a:srgbClr val="FFFF00"/>
                  </a:solidFill>
                  <a:ea typeface="+mn-lt"/>
                  <a:cs typeface="+mn-lt"/>
                </a:rPr>
                <a:t> un total de US$ 172 bn </a:t>
              </a:r>
              <a:r>
                <a:rPr lang="en-US" sz="1500" err="1">
                  <a:solidFill>
                    <a:srgbClr val="FFFF00"/>
                  </a:solidFill>
                  <a:ea typeface="+mn-lt"/>
                  <a:cs typeface="+mn-lt"/>
                </a:rPr>
                <a:t>en</a:t>
              </a:r>
              <a:r>
                <a:rPr lang="en-US" sz="1500">
                  <a:solidFill>
                    <a:srgbClr val="FFFF00"/>
                  </a:solidFill>
                  <a:ea typeface="+mn-lt"/>
                  <a:cs typeface="+mn-lt"/>
                </a:rPr>
                <a:t> Latinoamerica</a:t>
              </a:r>
              <a:r>
                <a:rPr lang="en-US" sz="1500" baseline="30000">
                  <a:solidFill>
                    <a:srgbClr val="FFFF00"/>
                  </a:solidFill>
                  <a:latin typeface="EYInterstate Light"/>
                </a:rPr>
                <a:t>2</a:t>
              </a: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EYInterstate Light"/>
                </a:rPr>
                <a:t>.</a:t>
              </a:r>
              <a:endParaRPr lang="en-US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1F7849C-1640-BE9E-01AA-50B031434C25}"/>
                </a:ext>
              </a:extLst>
            </p:cNvPr>
            <p:cNvSpPr/>
            <p:nvPr/>
          </p:nvSpPr>
          <p:spPr>
            <a:xfrm>
              <a:off x="3382851" y="1811338"/>
              <a:ext cx="274749" cy="3906779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17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496D35C-CBA5-1B6F-8AE5-1D4CDF10176A}"/>
              </a:ext>
            </a:extLst>
          </p:cNvPr>
          <p:cNvGrpSpPr/>
          <p:nvPr/>
        </p:nvGrpSpPr>
        <p:grpSpPr>
          <a:xfrm>
            <a:off x="5561064" y="1556792"/>
            <a:ext cx="3248085" cy="3911190"/>
            <a:chOff x="5731661" y="-144841"/>
            <a:chExt cx="3248085" cy="5869578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B728046-C885-F44F-49D4-9E814B08464C}"/>
                </a:ext>
              </a:extLst>
            </p:cNvPr>
            <p:cNvSpPr/>
            <p:nvPr/>
          </p:nvSpPr>
          <p:spPr>
            <a:xfrm>
              <a:off x="5902258" y="-144841"/>
              <a:ext cx="3077488" cy="586957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216000" rIns="252000" bIns="45720" rtlCol="0" anchor="t"/>
            <a:lstStyle/>
            <a:p>
              <a:pPr>
                <a:defRPr/>
              </a:pP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La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inversión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de China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en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LAC ha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crecido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de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manera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constante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,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pasando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de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menos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del 3%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en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2016 a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más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del 5% actualmente</a:t>
              </a:r>
              <a:r>
                <a:rPr lang="en-US" sz="1500" baseline="30000" dirty="0">
                  <a:solidFill>
                    <a:schemeClr val="tx2"/>
                  </a:solidFill>
                  <a:ea typeface="+mn-lt"/>
                  <a:cs typeface="+mn-lt"/>
                </a:rPr>
                <a:t>3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,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en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contraste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con la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contracción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de la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inversión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en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Estados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Unidos. Se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espera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que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esta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tendencia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de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crecimiento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continúe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en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los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próximos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 </a:t>
              </a:r>
              <a:r>
                <a:rPr lang="en-US" sz="1500" dirty="0" err="1">
                  <a:solidFill>
                    <a:schemeClr val="tx2"/>
                  </a:solidFill>
                  <a:ea typeface="+mn-lt"/>
                  <a:cs typeface="+mn-lt"/>
                </a:rPr>
                <a:t>años</a:t>
              </a:r>
              <a:r>
                <a:rPr lang="en-US" sz="1500" dirty="0">
                  <a:solidFill>
                    <a:schemeClr val="tx2"/>
                  </a:solidFill>
                  <a:ea typeface="+mn-lt"/>
                  <a:cs typeface="+mn-lt"/>
                </a:rPr>
                <a:t>.</a:t>
              </a:r>
              <a:endParaRPr lang="en-US" dirty="0">
                <a:solidFill>
                  <a:schemeClr val="tx2"/>
                </a:solidFill>
                <a:ea typeface="+mn-lt"/>
                <a:cs typeface="+mn-lt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9175BFA-01BA-3B07-C803-C494388CCC34}"/>
                </a:ext>
              </a:extLst>
            </p:cNvPr>
            <p:cNvSpPr/>
            <p:nvPr/>
          </p:nvSpPr>
          <p:spPr>
            <a:xfrm>
              <a:off x="5731661" y="1811338"/>
              <a:ext cx="274749" cy="3906779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17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5A227AB-9CE3-BBAB-CE6E-FF462D3C7CCA}"/>
              </a:ext>
            </a:extLst>
          </p:cNvPr>
          <p:cNvGrpSpPr/>
          <p:nvPr/>
        </p:nvGrpSpPr>
        <p:grpSpPr>
          <a:xfrm>
            <a:off x="8809149" y="1556792"/>
            <a:ext cx="3077488" cy="3906779"/>
            <a:chOff x="8809149" y="1811338"/>
            <a:chExt cx="3077488" cy="3906779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8D3887D-1583-BEC3-E954-54B966684E28}"/>
                </a:ext>
              </a:extLst>
            </p:cNvPr>
            <p:cNvSpPr/>
            <p:nvPr/>
          </p:nvSpPr>
          <p:spPr>
            <a:xfrm>
              <a:off x="8809149" y="1811338"/>
              <a:ext cx="3077488" cy="3906779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216000" rIns="252000" bIns="45720" rtlCol="0" anchor="t"/>
            <a:lstStyle/>
            <a:p>
              <a:pPr>
                <a:defRPr/>
              </a:pPr>
              <a:r>
                <a:rPr lang="en-US" sz="1500">
                  <a:solidFill>
                    <a:schemeClr val="bg1"/>
                  </a:solidFill>
                  <a:ea typeface="+mn-lt"/>
                  <a:cs typeface="+mn-lt"/>
                </a:rPr>
                <a:t>El</a:t>
              </a:r>
              <a:r>
                <a:rPr lang="en-US" sz="1500">
                  <a:solidFill>
                    <a:srgbClr val="FFFF00"/>
                  </a:solidFill>
                  <a:ea typeface="+mn-lt"/>
                  <a:cs typeface="+mn-lt"/>
                </a:rPr>
                <a:t> </a:t>
              </a:r>
              <a:r>
                <a:rPr lang="en-US" sz="1500" err="1">
                  <a:solidFill>
                    <a:srgbClr val="FFFF00"/>
                  </a:solidFill>
                  <a:ea typeface="+mn-lt"/>
                  <a:cs typeface="+mn-lt"/>
                </a:rPr>
                <a:t>comercio</a:t>
              </a:r>
              <a:r>
                <a:rPr lang="en-US" sz="1500">
                  <a:solidFill>
                    <a:srgbClr val="FFFF00"/>
                  </a:solidFill>
                  <a:ea typeface="+mn-lt"/>
                  <a:cs typeface="+mn-lt"/>
                </a:rPr>
                <a:t> entre China y LAC ha </a:t>
              </a:r>
              <a:r>
                <a:rPr lang="en-US" sz="1500" err="1">
                  <a:solidFill>
                    <a:srgbClr val="FFFF00"/>
                  </a:solidFill>
                  <a:ea typeface="+mn-lt"/>
                  <a:cs typeface="+mn-lt"/>
                </a:rPr>
                <a:t>crecido</a:t>
              </a:r>
              <a:r>
                <a:rPr lang="en-US" sz="1500">
                  <a:solidFill>
                    <a:srgbClr val="FFFF00"/>
                  </a:solidFill>
                  <a:ea typeface="+mn-lt"/>
                  <a:cs typeface="+mn-lt"/>
                </a:rPr>
                <a:t> </a:t>
              </a:r>
              <a:r>
                <a:rPr lang="en-US" sz="1500">
                  <a:solidFill>
                    <a:schemeClr val="bg1"/>
                  </a:solidFill>
                  <a:ea typeface="+mn-lt"/>
                  <a:cs typeface="+mn-lt"/>
                </a:rPr>
                <a:t>de </a:t>
              </a:r>
              <a:r>
                <a:rPr lang="en-US" sz="1500" err="1">
                  <a:solidFill>
                    <a:schemeClr val="bg1"/>
                  </a:solidFill>
                  <a:ea typeface="+mn-lt"/>
                  <a:cs typeface="+mn-lt"/>
                </a:rPr>
                <a:t>manera</a:t>
              </a:r>
              <a:r>
                <a:rPr lang="en-US" sz="1500">
                  <a:solidFill>
                    <a:schemeClr val="bg1"/>
                  </a:solidFill>
                  <a:ea typeface="+mn-lt"/>
                  <a:cs typeface="+mn-lt"/>
                </a:rPr>
                <a:t> sostenida</a:t>
              </a:r>
              <a:r>
                <a:rPr lang="en-US" sz="1500">
                  <a:ea typeface="+mn-lt"/>
                  <a:cs typeface="+mn-lt"/>
                </a:rPr>
                <a:t>, aunque varía por país. </a:t>
              </a:r>
              <a:r>
                <a:rPr lang="en-US" sz="1500">
                  <a:solidFill>
                    <a:srgbClr val="FFFF00"/>
                  </a:solidFill>
                  <a:ea typeface="+mn-lt"/>
                  <a:cs typeface="+mn-lt"/>
                </a:rPr>
                <a:t>Las exportaciones a China se concentran en minería, petróleo y agroindustria</a:t>
              </a:r>
              <a:r>
                <a:rPr lang="en-US" sz="1500">
                  <a:ea typeface="+mn-lt"/>
                  <a:cs typeface="+mn-lt"/>
                </a:rPr>
                <a:t>, mientras que las </a:t>
              </a:r>
              <a:r>
                <a:rPr lang="en-US" sz="1500" err="1">
                  <a:solidFill>
                    <a:srgbClr val="FFFF00"/>
                  </a:solidFill>
                  <a:ea typeface="+mn-lt"/>
                  <a:cs typeface="+mn-lt"/>
                </a:rPr>
                <a:t>importaciones</a:t>
              </a:r>
              <a:r>
                <a:rPr lang="en-US" sz="1500">
                  <a:solidFill>
                    <a:srgbClr val="FFFF00"/>
                  </a:solidFill>
                  <a:ea typeface="+mn-lt"/>
                  <a:cs typeface="+mn-lt"/>
                </a:rPr>
                <a:t> </a:t>
              </a:r>
              <a:r>
                <a:rPr lang="en-US" sz="1500" err="1">
                  <a:solidFill>
                    <a:srgbClr val="FFFF00"/>
                  </a:solidFill>
                  <a:ea typeface="+mn-lt"/>
                  <a:cs typeface="+mn-lt"/>
                </a:rPr>
                <a:t>desde</a:t>
              </a:r>
              <a:r>
                <a:rPr lang="en-US" sz="1500">
                  <a:solidFill>
                    <a:srgbClr val="FFFF00"/>
                  </a:solidFill>
                  <a:ea typeface="+mn-lt"/>
                  <a:cs typeface="+mn-lt"/>
                </a:rPr>
                <a:t> China se enfocan en tecnología y la </a:t>
              </a:r>
              <a:r>
                <a:rPr lang="en-US" sz="1500" err="1">
                  <a:solidFill>
                    <a:srgbClr val="FFFF00"/>
                  </a:solidFill>
                  <a:ea typeface="+mn-lt"/>
                  <a:cs typeface="+mn-lt"/>
                </a:rPr>
                <a:t>industria</a:t>
              </a:r>
              <a:r>
                <a:rPr lang="en-US" sz="1500">
                  <a:solidFill>
                    <a:srgbClr val="FFFF00"/>
                  </a:solidFill>
                  <a:ea typeface="+mn-lt"/>
                  <a:cs typeface="+mn-lt"/>
                </a:rPr>
                <a:t> automotriz</a:t>
              </a:r>
              <a:r>
                <a:rPr lang="en-US" sz="1500" baseline="30000">
                  <a:solidFill>
                    <a:srgbClr val="FFFF00"/>
                  </a:solidFill>
                  <a:latin typeface="EYInterstate Light"/>
                </a:rPr>
                <a:t>4</a:t>
              </a: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EYInterstate Light"/>
                </a:rPr>
                <a:t>.</a:t>
              </a:r>
              <a:endParaRPr lang="es-CL" sz="15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9A10C4-7D45-B125-FF03-3DFFED6D44A8}"/>
                </a:ext>
              </a:extLst>
            </p:cNvPr>
            <p:cNvSpPr/>
            <p:nvPr/>
          </p:nvSpPr>
          <p:spPr>
            <a:xfrm>
              <a:off x="8809149" y="1811338"/>
              <a:ext cx="274749" cy="3906779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17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4845987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3F6F336-87B7-EC85-9136-4830EC9D48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9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F6F336-87B7-EC85-9136-4830EC9D4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582">
            <a:extLst>
              <a:ext uri="{FF2B5EF4-FFF2-40B4-BE49-F238E27FC236}">
                <a16:creationId xmlns:a16="http://schemas.microsoft.com/office/drawing/2014/main" id="{499D1AE5-A2B7-31AC-D269-271EBD472D7E}"/>
              </a:ext>
            </a:extLst>
          </p:cNvPr>
          <p:cNvSpPr/>
          <p:nvPr/>
        </p:nvSpPr>
        <p:spPr>
          <a:xfrm>
            <a:off x="11373" y="980728"/>
            <a:ext cx="12180627" cy="14908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E0840F-297C-FFD6-A77B-D526F83E6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501" y="410854"/>
            <a:ext cx="10526973" cy="661075"/>
          </a:xfrm>
        </p:spPr>
        <p:txBody>
          <a:bodyPr vert="horz"/>
          <a:lstStyle/>
          <a:p>
            <a:r>
              <a:rPr lang="es-CL" b="0">
                <a:latin typeface="EYInterstate"/>
              </a:rPr>
              <a:t>Inversión china en la región</a:t>
            </a:r>
            <a:endParaRPr lang="en-US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9C4CA61-9540-74CF-0366-CEDBEFD4D7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7440857"/>
              </p:ext>
            </p:extLst>
          </p:nvPr>
        </p:nvGraphicFramePr>
        <p:xfrm>
          <a:off x="6266421" y="2513318"/>
          <a:ext cx="5398333" cy="3550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408DB867-3D12-520A-4931-28DDF8B826BE}"/>
              </a:ext>
            </a:extLst>
          </p:cNvPr>
          <p:cNvSpPr txBox="1"/>
          <p:nvPr/>
        </p:nvSpPr>
        <p:spPr>
          <a:xfrm>
            <a:off x="437586" y="6245348"/>
            <a:ext cx="4286751" cy="430887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uentes:</a:t>
            </a:r>
          </a:p>
          <a:p>
            <a:r>
              <a:rPr lang="en-US" sz="1100" dirty="0">
                <a:solidFill>
                  <a:srgbClr val="0563C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ina's OFDI Monitor in Latin America and the Caribbean 2024</a:t>
            </a:r>
            <a:endParaRPr lang="es-CL" sz="11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24029F-68DB-213B-7AA7-AA66CF3E5C63}"/>
              </a:ext>
            </a:extLst>
          </p:cNvPr>
          <p:cNvSpPr txBox="1"/>
          <p:nvPr/>
        </p:nvSpPr>
        <p:spPr>
          <a:xfrm>
            <a:off x="295138" y="1123167"/>
            <a:ext cx="5512830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L" sz="1600" dirty="0">
                <a:solidFill>
                  <a:schemeClr val="bg1"/>
                </a:solidFill>
                <a:latin typeface="EYInterstate Light" panose="02000506000000020004" pitchFamily="2" charset="0"/>
                <a:ea typeface="+mn-lt"/>
                <a:cs typeface="+mn-lt"/>
              </a:rPr>
              <a:t>La inversión extranjera directa (FDI, siglas en inglés) china en LAC creció de US$ 2.6 </a:t>
            </a:r>
            <a:r>
              <a:rPr lang="es-CL" sz="1600" dirty="0" err="1">
                <a:solidFill>
                  <a:schemeClr val="bg1"/>
                </a:solidFill>
                <a:latin typeface="EYInterstate Light" panose="02000506000000020004" pitchFamily="2" charset="0"/>
                <a:ea typeface="+mn-lt"/>
                <a:cs typeface="+mn-lt"/>
              </a:rPr>
              <a:t>bn</a:t>
            </a:r>
            <a:r>
              <a:rPr lang="es-CL" sz="1600" dirty="0">
                <a:solidFill>
                  <a:schemeClr val="bg1"/>
                </a:solidFill>
                <a:latin typeface="EYInterstate Light" panose="02000506000000020004" pitchFamily="2" charset="0"/>
                <a:ea typeface="+mn-lt"/>
                <a:cs typeface="+mn-lt"/>
              </a:rPr>
              <a:t>. en 2000-2004 a US$ 68 </a:t>
            </a:r>
            <a:r>
              <a:rPr lang="es-CL" sz="1600" dirty="0" err="1">
                <a:solidFill>
                  <a:schemeClr val="bg1"/>
                </a:solidFill>
                <a:latin typeface="EYInterstate Light" panose="02000506000000020004" pitchFamily="2" charset="0"/>
                <a:ea typeface="+mn-lt"/>
                <a:cs typeface="+mn-lt"/>
              </a:rPr>
              <a:t>bn</a:t>
            </a:r>
            <a:r>
              <a:rPr lang="es-CL" sz="1600" dirty="0">
                <a:solidFill>
                  <a:schemeClr val="bg1"/>
                </a:solidFill>
                <a:latin typeface="EYInterstate Light" panose="02000506000000020004" pitchFamily="2" charset="0"/>
                <a:ea typeface="+mn-lt"/>
                <a:cs typeface="+mn-lt"/>
              </a:rPr>
              <a:t>. en 2015-2019</a:t>
            </a:r>
            <a:r>
              <a:rPr lang="es-CL" sz="1600" dirty="0">
                <a:solidFill>
                  <a:schemeClr val="bg1"/>
                </a:solidFill>
                <a:latin typeface="EYInterstate Light" panose="02000506000000020004" pitchFamily="2" charset="0"/>
              </a:rPr>
              <a:t>, cuando alcanzó su máximo histórico. </a:t>
            </a:r>
            <a:endParaRPr lang="en-US" sz="1600" dirty="0">
              <a:solidFill>
                <a:schemeClr val="bg1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DE274A-80E9-580B-1532-AAFAB820FA9A}"/>
              </a:ext>
            </a:extLst>
          </p:cNvPr>
          <p:cNvSpPr txBox="1"/>
          <p:nvPr/>
        </p:nvSpPr>
        <p:spPr>
          <a:xfrm>
            <a:off x="4566080" y="6269235"/>
            <a:ext cx="6848328" cy="7694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100" dirty="0" err="1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sideraciones</a:t>
            </a:r>
            <a:r>
              <a:rPr lang="en-US" sz="1100" dirty="0">
                <a:solidFill>
                  <a:schemeClr val="bg1"/>
                </a:solidFill>
              </a:rPr>
              <a:t>: 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No hay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datos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oficiales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sobre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la IED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china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en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la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región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, y las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estimaciones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varían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ampliamente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según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la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fuente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.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Elegimos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el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monitor de IED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porque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fue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el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que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mostró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mayor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consistencia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con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otros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dirty="0" err="1">
                <a:solidFill>
                  <a:schemeClr val="bg1"/>
                </a:solidFill>
                <a:ea typeface="+mn-lt"/>
                <a:cs typeface="+mn-lt"/>
              </a:rPr>
              <a:t>informes</a:t>
            </a:r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.</a:t>
            </a:r>
          </a:p>
          <a:p>
            <a:endParaRPr lang="es-CL" sz="1100" dirty="0">
              <a:solidFill>
                <a:schemeClr val="bg1"/>
              </a:solidFill>
              <a:ea typeface="+mn-lt"/>
              <a:cs typeface="+mn-lt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6D8EE633-5262-CA4C-1664-646122D27214}"/>
              </a:ext>
            </a:extLst>
          </p:cNvPr>
          <p:cNvSpPr txBox="1"/>
          <p:nvPr/>
        </p:nvSpPr>
        <p:spPr>
          <a:xfrm>
            <a:off x="5313507" y="2905760"/>
            <a:ext cx="467360" cy="31393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s-CL" sz="2000" dirty="0">
                <a:solidFill>
                  <a:schemeClr val="bg1"/>
                </a:solidFill>
              </a:rPr>
              <a:t>*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66B868F-BB38-2746-474F-73607A338DED}"/>
              </a:ext>
            </a:extLst>
          </p:cNvPr>
          <p:cNvSpPr txBox="1"/>
          <p:nvPr/>
        </p:nvSpPr>
        <p:spPr>
          <a:xfrm>
            <a:off x="2020766" y="5959519"/>
            <a:ext cx="2537554" cy="189283"/>
          </a:xfrm>
          <a:prstGeom prst="rect">
            <a:avLst/>
          </a:prstGeom>
          <a:noFill/>
        </p:spPr>
        <p:txBody>
          <a:bodyPr wrap="non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es-CL" sz="1100" dirty="0">
                <a:solidFill>
                  <a:schemeClr val="bg1"/>
                </a:solidFill>
              </a:rPr>
              <a:t>* Datos para el periodo del 2020-2023.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E4BE2F93-758F-9E7C-7005-DF89206069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0269448"/>
              </p:ext>
            </p:extLst>
          </p:nvPr>
        </p:nvGraphicFramePr>
        <p:xfrm>
          <a:off x="588724" y="2536556"/>
          <a:ext cx="5398333" cy="35504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F5056A92-918F-DFA9-4BFA-61D0690D2FC6}"/>
              </a:ext>
            </a:extLst>
          </p:cNvPr>
          <p:cNvSpPr txBox="1"/>
          <p:nvPr/>
        </p:nvSpPr>
        <p:spPr>
          <a:xfrm>
            <a:off x="6199794" y="1123167"/>
            <a:ext cx="5512830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L" sz="1600" dirty="0">
                <a:solidFill>
                  <a:schemeClr val="bg1"/>
                </a:solidFill>
                <a:latin typeface="EYInterstate Light" panose="02000506000000020004" pitchFamily="2" charset="0"/>
                <a:ea typeface="+mn-lt"/>
                <a:cs typeface="+mn-lt"/>
              </a:rPr>
              <a:t>En términos de participación de FDI en la región, esta creció del 0.8% en 2000-2004 al 10.6% en 2020-2023 (ver izq.), pero en los últimos años su participación ha disminuido de manera constante, alcanzando el 4.9% en 2024 (ver </a:t>
            </a:r>
            <a:r>
              <a:rPr lang="es-CL" sz="1600" dirty="0" err="1">
                <a:solidFill>
                  <a:schemeClr val="bg1"/>
                </a:solidFill>
                <a:latin typeface="EYInterstate Light" panose="02000506000000020004" pitchFamily="2" charset="0"/>
                <a:ea typeface="+mn-lt"/>
                <a:cs typeface="+mn-lt"/>
              </a:rPr>
              <a:t>der</a:t>
            </a:r>
            <a:r>
              <a:rPr lang="es-CL" sz="1600" dirty="0">
                <a:solidFill>
                  <a:schemeClr val="bg1"/>
                </a:solidFill>
                <a:latin typeface="EYInterstate Light" panose="02000506000000020004" pitchFamily="2" charset="0"/>
                <a:ea typeface="+mn-lt"/>
                <a:cs typeface="+mn-lt"/>
              </a:rPr>
              <a:t>.).</a:t>
            </a:r>
          </a:p>
        </p:txBody>
      </p:sp>
    </p:spTree>
    <p:extLst>
      <p:ext uri="{BB962C8B-B14F-4D97-AF65-F5344CB8AC3E}">
        <p14:creationId xmlns:p14="http://schemas.microsoft.com/office/powerpoint/2010/main" val="26274289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82">
            <a:extLst>
              <a:ext uri="{FF2B5EF4-FFF2-40B4-BE49-F238E27FC236}">
                <a16:creationId xmlns:a16="http://schemas.microsoft.com/office/drawing/2014/main" id="{4D047B31-C0FB-3E6C-D3D6-A56078423A24}"/>
              </a:ext>
            </a:extLst>
          </p:cNvPr>
          <p:cNvSpPr/>
          <p:nvPr/>
        </p:nvSpPr>
        <p:spPr>
          <a:xfrm>
            <a:off x="11373" y="2492896"/>
            <a:ext cx="3752799" cy="23127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3F6F336-87B7-EC85-9136-4830EC9D48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F6F336-87B7-EC85-9136-4830EC9D4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3" name="Chart 202">
            <a:extLst>
              <a:ext uri="{FF2B5EF4-FFF2-40B4-BE49-F238E27FC236}">
                <a16:creationId xmlns:a16="http://schemas.microsoft.com/office/drawing/2014/main" id="{CF059335-99F9-257A-7FC6-EE127DDD6EC9}"/>
              </a:ext>
            </a:extLst>
          </p:cNvPr>
          <p:cNvGraphicFramePr/>
          <p:nvPr/>
        </p:nvGraphicFramePr>
        <p:xfrm>
          <a:off x="4425100" y="1740789"/>
          <a:ext cx="7459579" cy="4831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10BA4FC-FDBD-C92E-07B1-017C0DB56290}"/>
              </a:ext>
            </a:extLst>
          </p:cNvPr>
          <p:cNvSpPr txBox="1"/>
          <p:nvPr/>
        </p:nvSpPr>
        <p:spPr>
          <a:xfrm>
            <a:off x="4119488" y="1869102"/>
            <a:ext cx="11723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200">
                <a:solidFill>
                  <a:schemeClr val="bg1"/>
                </a:solidFill>
                <a:latin typeface="EYInterstate Light" panose="02000506000000020004" pitchFamily="2" charset="0"/>
              </a:rPr>
              <a:t>(% </a:t>
            </a:r>
            <a:r>
              <a:rPr lang="es-CL" sz="1200" err="1">
                <a:solidFill>
                  <a:schemeClr val="bg1"/>
                </a:solidFill>
                <a:latin typeface="EYInterstate Light" panose="02000506000000020004" pitchFamily="2" charset="0"/>
              </a:rPr>
              <a:t>of</a:t>
            </a:r>
            <a:r>
              <a:rPr lang="es-CL" sz="1200">
                <a:solidFill>
                  <a:schemeClr val="bg1"/>
                </a:solidFill>
                <a:latin typeface="EYInterstate Light" panose="02000506000000020004" pitchFamily="2" charset="0"/>
              </a:rPr>
              <a:t> Total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A3B974-4FB6-B55F-D2E7-A273240B65A5}"/>
              </a:ext>
            </a:extLst>
          </p:cNvPr>
          <p:cNvSpPr txBox="1"/>
          <p:nvPr/>
        </p:nvSpPr>
        <p:spPr>
          <a:xfrm>
            <a:off x="334501" y="2728323"/>
            <a:ext cx="3203356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L">
                <a:solidFill>
                  <a:schemeClr val="bg1"/>
                </a:solidFill>
                <a:ea typeface="+mn-lt"/>
                <a:cs typeface="+mn-lt"/>
              </a:rPr>
              <a:t>La  IED china en la región ha pasado de estar mayormente concentrada en minería y metales a incluir energía y, recientemente, también el sector automotriz</a:t>
            </a:r>
            <a:r>
              <a:rPr lang="es-CL">
                <a:solidFill>
                  <a:schemeClr val="bg1"/>
                </a:solidFill>
                <a:latin typeface="EYInterstate Light"/>
                <a:ea typeface="+mn-lt"/>
                <a:cs typeface="+mn-lt"/>
              </a:rPr>
              <a:t>.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2F065E3-03B7-490E-63C4-827C12606A6A}"/>
              </a:ext>
            </a:extLst>
          </p:cNvPr>
          <p:cNvSpPr txBox="1"/>
          <p:nvPr/>
        </p:nvSpPr>
        <p:spPr>
          <a:xfrm>
            <a:off x="330067" y="5413537"/>
            <a:ext cx="4003422" cy="12772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* </a:t>
            </a:r>
            <a:r>
              <a:rPr lang="en-US" sz="1100" u="sng" dirty="0">
                <a:solidFill>
                  <a:schemeClr val="bg1"/>
                </a:solidFill>
                <a:ea typeface="+mn-lt"/>
                <a:cs typeface="+mn-lt"/>
              </a:rPr>
              <a:t>No hay </a:t>
            </a:r>
            <a:r>
              <a:rPr lang="en-US" sz="1100" u="sng" dirty="0" err="1">
                <a:solidFill>
                  <a:schemeClr val="bg1"/>
                </a:solidFill>
                <a:ea typeface="+mn-lt"/>
                <a:cs typeface="+mn-lt"/>
              </a:rPr>
              <a:t>datos</a:t>
            </a:r>
            <a:r>
              <a:rPr lang="en-US" sz="1100" u="sng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u="sng" dirty="0" err="1">
                <a:solidFill>
                  <a:schemeClr val="bg1"/>
                </a:solidFill>
                <a:ea typeface="+mn-lt"/>
                <a:cs typeface="+mn-lt"/>
              </a:rPr>
              <a:t>oficiales</a:t>
            </a:r>
            <a:r>
              <a:rPr lang="en-US" sz="1100" u="sng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u="sng" dirty="0" err="1">
                <a:solidFill>
                  <a:schemeClr val="bg1"/>
                </a:solidFill>
                <a:ea typeface="+mn-lt"/>
                <a:cs typeface="+mn-lt"/>
              </a:rPr>
              <a:t>sobre</a:t>
            </a:r>
            <a:r>
              <a:rPr lang="en-US" sz="1100" u="sng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u="sng" dirty="0" err="1">
                <a:solidFill>
                  <a:schemeClr val="bg1"/>
                </a:solidFill>
                <a:ea typeface="+mn-lt"/>
                <a:cs typeface="+mn-lt"/>
              </a:rPr>
              <a:t>los</a:t>
            </a:r>
            <a:r>
              <a:rPr lang="en-US" sz="1100" u="sng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u="sng" dirty="0" err="1">
                <a:solidFill>
                  <a:schemeClr val="bg1"/>
                </a:solidFill>
                <a:ea typeface="+mn-lt"/>
                <a:cs typeface="+mn-lt"/>
              </a:rPr>
              <a:t>destinos</a:t>
            </a:r>
            <a:r>
              <a:rPr lang="en-US" sz="1100" u="sng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u="sng" dirty="0" err="1">
                <a:solidFill>
                  <a:schemeClr val="bg1"/>
                </a:solidFill>
                <a:ea typeface="+mn-lt"/>
                <a:cs typeface="+mn-lt"/>
              </a:rPr>
              <a:t>sectoriales</a:t>
            </a:r>
            <a:r>
              <a:rPr lang="en-US" sz="1100" u="sng" dirty="0">
                <a:solidFill>
                  <a:schemeClr val="bg1"/>
                </a:solidFill>
                <a:ea typeface="+mn-lt"/>
                <a:cs typeface="+mn-lt"/>
              </a:rPr>
              <a:t>, </a:t>
            </a:r>
            <a:r>
              <a:rPr lang="en-US" sz="1100" u="sng" dirty="0" err="1">
                <a:solidFill>
                  <a:schemeClr val="bg1"/>
                </a:solidFill>
                <a:ea typeface="+mn-lt"/>
                <a:cs typeface="+mn-lt"/>
              </a:rPr>
              <a:t>por</a:t>
            </a:r>
            <a:r>
              <a:rPr lang="en-US" sz="1100" u="sng" dirty="0">
                <a:solidFill>
                  <a:schemeClr val="bg1"/>
                </a:solidFill>
                <a:ea typeface="+mn-lt"/>
                <a:cs typeface="+mn-lt"/>
              </a:rPr>
              <a:t> lo que </a:t>
            </a:r>
            <a:r>
              <a:rPr lang="en-US" sz="1100" u="sng" dirty="0" err="1">
                <a:solidFill>
                  <a:schemeClr val="bg1"/>
                </a:solidFill>
                <a:ea typeface="+mn-lt"/>
                <a:cs typeface="+mn-lt"/>
              </a:rPr>
              <a:t>existen</a:t>
            </a:r>
            <a:r>
              <a:rPr lang="en-US" sz="1100" u="sng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u="sng" dirty="0" err="1">
                <a:solidFill>
                  <a:schemeClr val="bg1"/>
                </a:solidFill>
                <a:ea typeface="+mn-lt"/>
                <a:cs typeface="+mn-lt"/>
              </a:rPr>
              <a:t>diferencias</a:t>
            </a:r>
            <a:r>
              <a:rPr lang="en-US" sz="1100" u="sng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u="sng" dirty="0" err="1">
                <a:solidFill>
                  <a:schemeClr val="bg1"/>
                </a:solidFill>
                <a:ea typeface="+mn-lt"/>
                <a:cs typeface="+mn-lt"/>
              </a:rPr>
              <a:t>significativas</a:t>
            </a:r>
            <a:r>
              <a:rPr lang="en-US" sz="1100" u="sng" dirty="0">
                <a:solidFill>
                  <a:schemeClr val="bg1"/>
                </a:solidFill>
                <a:ea typeface="+mn-lt"/>
                <a:cs typeface="+mn-lt"/>
              </a:rPr>
              <a:t> entre las </a:t>
            </a:r>
            <a:r>
              <a:rPr lang="en-US" sz="1100" u="sng" dirty="0" err="1">
                <a:solidFill>
                  <a:schemeClr val="bg1"/>
                </a:solidFill>
                <a:ea typeface="+mn-lt"/>
                <a:cs typeface="+mn-lt"/>
              </a:rPr>
              <a:t>estimaciones</a:t>
            </a:r>
            <a:r>
              <a:rPr lang="en-US" sz="1100" u="sng" dirty="0">
                <a:solidFill>
                  <a:schemeClr val="bg1"/>
                </a:solidFill>
                <a:ea typeface="+mn-lt"/>
                <a:cs typeface="+mn-lt"/>
              </a:rPr>
              <a:t> de las </a:t>
            </a:r>
            <a:r>
              <a:rPr lang="en-US" sz="1100" u="sng" dirty="0" err="1">
                <a:solidFill>
                  <a:schemeClr val="bg1"/>
                </a:solidFill>
                <a:ea typeface="+mn-lt"/>
                <a:cs typeface="+mn-lt"/>
              </a:rPr>
              <a:t>fuentes</a:t>
            </a:r>
            <a:r>
              <a:rPr lang="en-US" sz="1100" u="sng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en-US" sz="1100" u="sng" dirty="0" err="1">
                <a:solidFill>
                  <a:schemeClr val="bg1"/>
                </a:solidFill>
                <a:ea typeface="+mn-lt"/>
                <a:cs typeface="+mn-lt"/>
              </a:rPr>
              <a:t>disponibles</a:t>
            </a:r>
            <a:r>
              <a:rPr lang="en-US" sz="1100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endParaRPr lang="en-US" sz="1100" dirty="0">
              <a:solidFill>
                <a:schemeClr val="bg1"/>
              </a:solidFill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US" sz="1100" u="sng" dirty="0">
                <a:solidFill>
                  <a:schemeClr val="bg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uentes</a:t>
            </a:r>
            <a:r>
              <a:rPr lang="en-US" sz="1100" dirty="0">
                <a:solidFill>
                  <a:schemeClr val="bg1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</a:t>
            </a:r>
            <a:endParaRPr lang="en-US" sz="1100" dirty="0">
              <a:solidFill>
                <a:schemeClr val="bg1"/>
              </a:solidFill>
            </a:endParaRPr>
          </a:p>
          <a:p>
            <a:r>
              <a:rPr lang="en-US" sz="1100" dirty="0">
                <a:solidFill>
                  <a:srgbClr val="0563C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ina's OFDI Monitor in Latin America and the Caribbean 2024</a:t>
            </a:r>
            <a:endParaRPr lang="es-CL" sz="1100" dirty="0">
              <a:solidFill>
                <a:schemeClr val="bg1"/>
              </a:solidFill>
            </a:endParaRPr>
          </a:p>
          <a:p>
            <a:endParaRPr lang="es-CL" sz="1100" dirty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64AC6E1-3DD9-1ED2-C465-6EE9D8E22E49}"/>
              </a:ext>
            </a:extLst>
          </p:cNvPr>
          <p:cNvSpPr txBox="1">
            <a:spLocks/>
          </p:cNvSpPr>
          <p:nvPr/>
        </p:nvSpPr>
        <p:spPr>
          <a:xfrm>
            <a:off x="334501" y="410854"/>
            <a:ext cx="10526973" cy="6610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s-CL" b="0">
                <a:latin typeface="EYInterstate"/>
              </a:rPr>
              <a:t>Inversión china en la regi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8379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3F6F336-87B7-EC85-9136-4830EC9D48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F6F336-87B7-EC85-9136-4830EC9D4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2" name="Chart 201">
            <a:extLst>
              <a:ext uri="{FF2B5EF4-FFF2-40B4-BE49-F238E27FC236}">
                <a16:creationId xmlns:a16="http://schemas.microsoft.com/office/drawing/2014/main" id="{476D9F97-D9CB-8CE1-55A2-CFFF6799A424}"/>
              </a:ext>
            </a:extLst>
          </p:cNvPr>
          <p:cNvGraphicFramePr/>
          <p:nvPr/>
        </p:nvGraphicFramePr>
        <p:xfrm>
          <a:off x="1344596" y="1536970"/>
          <a:ext cx="7754410" cy="4655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04" name="TextBox 203">
            <a:extLst>
              <a:ext uri="{FF2B5EF4-FFF2-40B4-BE49-F238E27FC236}">
                <a16:creationId xmlns:a16="http://schemas.microsoft.com/office/drawing/2014/main" id="{2AE86E7F-9BCD-C083-4393-905E39A07A70}"/>
              </a:ext>
            </a:extLst>
          </p:cNvPr>
          <p:cNvSpPr txBox="1"/>
          <p:nvPr/>
        </p:nvSpPr>
        <p:spPr>
          <a:xfrm>
            <a:off x="700234" y="5977945"/>
            <a:ext cx="4198585" cy="60016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uentes:</a:t>
            </a:r>
          </a:p>
          <a:p>
            <a:r>
              <a:rPr lang="en-US" sz="1100" dirty="0">
                <a:solidFill>
                  <a:srgbClr val="0563C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ina's OFDI Monitor in Latin America and the Caribbean 2024</a:t>
            </a:r>
            <a:endParaRPr lang="es-CL" sz="1100" dirty="0">
              <a:solidFill>
                <a:schemeClr val="bg1"/>
              </a:solidFill>
            </a:endParaRPr>
          </a:p>
          <a:p>
            <a:endParaRPr lang="es-CL" sz="1100" dirty="0">
              <a:solidFill>
                <a:schemeClr val="bg1"/>
              </a:solidFill>
            </a:endParaRPr>
          </a:p>
        </p:txBody>
      </p:sp>
      <p:sp>
        <p:nvSpPr>
          <p:cNvPr id="5" name="Rectangle 582">
            <a:extLst>
              <a:ext uri="{FF2B5EF4-FFF2-40B4-BE49-F238E27FC236}">
                <a16:creationId xmlns:a16="http://schemas.microsoft.com/office/drawing/2014/main" id="{D02778E5-BF46-0DC4-9F4C-75980E05B26B}"/>
              </a:ext>
            </a:extLst>
          </p:cNvPr>
          <p:cNvSpPr/>
          <p:nvPr/>
        </p:nvSpPr>
        <p:spPr>
          <a:xfrm>
            <a:off x="9743368" y="1988840"/>
            <a:ext cx="2448632" cy="32926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D74061-BEE2-5774-A7AE-621274E393C3}"/>
              </a:ext>
            </a:extLst>
          </p:cNvPr>
          <p:cNvSpPr txBox="1"/>
          <p:nvPr/>
        </p:nvSpPr>
        <p:spPr>
          <a:xfrm>
            <a:off x="9950125" y="2136338"/>
            <a:ext cx="1906515" cy="258532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L" dirty="0">
                <a:solidFill>
                  <a:schemeClr val="bg1"/>
                </a:solidFill>
                <a:ea typeface="+mn-lt"/>
                <a:cs typeface="+mn-lt"/>
              </a:rPr>
              <a:t>Mientras que la IED china en la región se ha mantenido estable en los últimos años, ha mostrado una gran variación entre países</a:t>
            </a:r>
            <a:r>
              <a:rPr lang="es-CL" dirty="0">
                <a:solidFill>
                  <a:schemeClr val="bg1"/>
                </a:solidFill>
                <a:latin typeface="EYInterstate Light"/>
              </a:rPr>
              <a:t>.</a:t>
            </a:r>
            <a:endParaRPr lang="en-US" dirty="0">
              <a:solidFill>
                <a:schemeClr val="bg1"/>
              </a:solidFill>
              <a:latin typeface="EYInterstate Light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96B03CB-95DD-7134-D382-818349DAF246}"/>
              </a:ext>
            </a:extLst>
          </p:cNvPr>
          <p:cNvSpPr txBox="1">
            <a:spLocks/>
          </p:cNvSpPr>
          <p:nvPr/>
        </p:nvSpPr>
        <p:spPr>
          <a:xfrm>
            <a:off x="334501" y="410854"/>
            <a:ext cx="10526973" cy="6610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s-CL" b="0">
                <a:latin typeface="EYInterstate"/>
              </a:rPr>
              <a:t>Inversión china en la regi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5775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82">
            <a:extLst>
              <a:ext uri="{FF2B5EF4-FFF2-40B4-BE49-F238E27FC236}">
                <a16:creationId xmlns:a16="http://schemas.microsoft.com/office/drawing/2014/main" id="{8F41EC06-24AB-3407-B977-7FC709AF2BBC}"/>
              </a:ext>
            </a:extLst>
          </p:cNvPr>
          <p:cNvSpPr/>
          <p:nvPr/>
        </p:nvSpPr>
        <p:spPr>
          <a:xfrm>
            <a:off x="1" y="2060848"/>
            <a:ext cx="3528284" cy="25922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3F6F336-87B7-EC85-9136-4830EC9D48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F6F336-87B7-EC85-9136-4830EC9D4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E0840F-297C-FFD6-A77B-D526F83E6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993" y="444974"/>
            <a:ext cx="10470108" cy="638328"/>
          </a:xfrm>
        </p:spPr>
        <p:txBody>
          <a:bodyPr vert="horz"/>
          <a:lstStyle/>
          <a:p>
            <a:r>
              <a:rPr lang="es-CL">
                <a:latin typeface="EYInterstate"/>
                <a:cs typeface="Arial"/>
              </a:rPr>
              <a:t>Comercio China - LAC</a:t>
            </a:r>
            <a:endParaRPr lang="en-US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FF72E936-7B9F-6B52-57E2-393ADE9847EE}"/>
              </a:ext>
            </a:extLst>
          </p:cNvPr>
          <p:cNvGraphicFramePr/>
          <p:nvPr/>
        </p:nvGraphicFramePr>
        <p:xfrm>
          <a:off x="4098673" y="1665514"/>
          <a:ext cx="7608749" cy="4946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4FFBD2A-23F6-482C-E395-69A946994E1B}"/>
              </a:ext>
            </a:extLst>
          </p:cNvPr>
          <p:cNvSpPr txBox="1"/>
          <p:nvPr/>
        </p:nvSpPr>
        <p:spPr>
          <a:xfrm>
            <a:off x="3937675" y="2002974"/>
            <a:ext cx="8738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200">
                <a:solidFill>
                  <a:schemeClr val="bg1"/>
                </a:solidFill>
                <a:latin typeface="EYInterstate Light" panose="02000506000000020004" pitchFamily="2" charset="0"/>
              </a:rPr>
              <a:t>USD </a:t>
            </a:r>
            <a:r>
              <a:rPr lang="es-CL" sz="1200" err="1">
                <a:solidFill>
                  <a:schemeClr val="bg1"/>
                </a:solidFill>
                <a:latin typeface="EYInterstate Light" panose="02000506000000020004" pitchFamily="2" charset="0"/>
              </a:rPr>
              <a:t>Bn</a:t>
            </a:r>
            <a:endParaRPr lang="es-CL" sz="1200">
              <a:solidFill>
                <a:schemeClr val="bg1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DE0754-7839-EDFF-4F2D-B987CA9A710E}"/>
              </a:ext>
            </a:extLst>
          </p:cNvPr>
          <p:cNvSpPr txBox="1"/>
          <p:nvPr/>
        </p:nvSpPr>
        <p:spPr>
          <a:xfrm>
            <a:off x="199524" y="2390954"/>
            <a:ext cx="3329341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L">
                <a:solidFill>
                  <a:schemeClr val="bg1"/>
                </a:solidFill>
                <a:ea typeface="+mn-lt"/>
                <a:cs typeface="+mn-lt"/>
              </a:rPr>
              <a:t>El comercio de algunos países seleccionados de LAC* con China ha crecido de manera constante, manteniendo un equilibrio saludable entre importaciones/exportaciones.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CuadroTexto 2">
            <a:extLst>
              <a:ext uri="{FF2B5EF4-FFF2-40B4-BE49-F238E27FC236}">
                <a16:creationId xmlns:a16="http://schemas.microsoft.com/office/drawing/2014/main" id="{BC599AFA-D40F-BF5E-398F-F70BC448EF68}"/>
              </a:ext>
            </a:extLst>
          </p:cNvPr>
          <p:cNvSpPr txBox="1"/>
          <p:nvPr/>
        </p:nvSpPr>
        <p:spPr>
          <a:xfrm>
            <a:off x="334501" y="5689250"/>
            <a:ext cx="3429671" cy="11079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CL" sz="1100">
                <a:solidFill>
                  <a:schemeClr val="bg1"/>
                </a:solidFill>
              </a:rPr>
              <a:t>Fuente: </a:t>
            </a:r>
            <a:r>
              <a:rPr lang="zh-CN" altLang="es-CL" sz="1100">
                <a:solidFill>
                  <a:srgbClr val="0563C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海关统计数据查询平台 </a:t>
            </a:r>
            <a:r>
              <a:rPr lang="es-CL" altLang="zh-CN" sz="110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(customs.gov.cn)</a:t>
            </a:r>
            <a:endParaRPr lang="es-CL" altLang="zh-CN" sz="1100">
              <a:solidFill>
                <a:schemeClr val="bg1"/>
              </a:solidFill>
            </a:endParaRPr>
          </a:p>
          <a:p>
            <a:r>
              <a:rPr lang="es-CL" sz="1100">
                <a:solidFill>
                  <a:schemeClr val="bg1"/>
                </a:solidFill>
              </a:rPr>
              <a:t>*LAC </a:t>
            </a:r>
            <a:r>
              <a:rPr lang="es-CL" sz="1100" err="1">
                <a:solidFill>
                  <a:schemeClr val="bg1"/>
                </a:solidFill>
              </a:rPr>
              <a:t>paises</a:t>
            </a:r>
            <a:r>
              <a:rPr lang="es-CL" sz="1100">
                <a:solidFill>
                  <a:schemeClr val="bg1"/>
                </a:solidFill>
              </a:rPr>
              <a:t> seleccionados:</a:t>
            </a:r>
          </a:p>
          <a:p>
            <a:r>
              <a:rPr lang="es-CL" sz="1100">
                <a:solidFill>
                  <a:schemeClr val="bg1"/>
                </a:solidFill>
              </a:rPr>
              <a:t>Argentina, Bolivia, </a:t>
            </a:r>
            <a:r>
              <a:rPr lang="es-CL" sz="1100" err="1">
                <a:solidFill>
                  <a:schemeClr val="bg1"/>
                </a:solidFill>
              </a:rPr>
              <a:t>Brazil</a:t>
            </a:r>
            <a:r>
              <a:rPr lang="es-CL" sz="1100">
                <a:solidFill>
                  <a:schemeClr val="bg1"/>
                </a:solidFill>
              </a:rPr>
              <a:t>, Chile, Colombia, Ecuador, </a:t>
            </a:r>
            <a:r>
              <a:rPr lang="es-CL" sz="1100" err="1">
                <a:solidFill>
                  <a:schemeClr val="bg1"/>
                </a:solidFill>
              </a:rPr>
              <a:t>Mexico</a:t>
            </a:r>
            <a:r>
              <a:rPr lang="es-CL" sz="1100">
                <a:solidFill>
                  <a:schemeClr val="bg1"/>
                </a:solidFill>
              </a:rPr>
              <a:t>, Paraguay, </a:t>
            </a:r>
            <a:r>
              <a:rPr lang="es-CL" sz="1100" err="1">
                <a:solidFill>
                  <a:schemeClr val="bg1"/>
                </a:solidFill>
              </a:rPr>
              <a:t>Peru</a:t>
            </a:r>
            <a:r>
              <a:rPr lang="es-CL" sz="1100">
                <a:solidFill>
                  <a:schemeClr val="bg1"/>
                </a:solidFill>
              </a:rPr>
              <a:t>, Uruguay, Venezuela</a:t>
            </a:r>
          </a:p>
          <a:p>
            <a:endParaRPr lang="es-CL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6280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0F11C-D5C2-8B12-91E6-F7D61A359A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2A5683-C446-2131-7250-3F2D42D6D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482433" cy="2869882"/>
          </a:xfrm>
        </p:spPr>
        <p:txBody>
          <a:bodyPr/>
          <a:lstStyle/>
          <a:p>
            <a:r>
              <a:rPr lang="es-CL" dirty="0"/>
              <a:t>Inversión y comercio entre China y Chile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6826595-B513-7087-20AF-8DD66660F6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61576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AbjCVCX828GgYXiz4k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3x.nn4i8Kwe6zOSLxy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ge Text [SPECTRUM]">
  <a:themeElements>
    <a:clrScheme name="Custom 81">
      <a:dk1>
        <a:srgbClr val="1A1A24"/>
      </a:dk1>
      <a:lt1>
        <a:srgbClr val="FFFFFF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  <a:miter lim="800000"/>
        </a:ln>
      </a:spPr>
      <a:bodyPr lIns="108000" tIns="108000" rIns="108000" bIns="108000" rtlCol="0" anchor="t" anchorCtr="0"/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Font typeface="Wingdings" pitchFamily="2" charset="2"/>
          <a:buChar char="§"/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rk-global-widescreen-presentation-template-v2.4.potx" id="{FF47DC87-4AF3-4D5F-88A3-1A611FD73713}" vid="{2E49ABC6-E45F-41DB-9E18-D851610A9709}"/>
    </a:ext>
  </a:extLst>
</a:theme>
</file>

<file path=ppt/theme/theme2.xml><?xml version="1.0" encoding="utf-8"?>
<a:theme xmlns:a="http://schemas.openxmlformats.org/drawingml/2006/main" name="Large Text [DARK]">
  <a:themeElements>
    <a:clrScheme name="Custom 82">
      <a:dk1>
        <a:srgbClr val="1A1A24"/>
      </a:dk1>
      <a:lt1>
        <a:srgbClr val="FFFFFF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  <a:miter lim="800000"/>
        </a:ln>
      </a:spPr>
      <a:bodyPr lIns="108000" tIns="108000" rIns="108000" bIns="108000" rtlCol="0" anchor="t" anchorCtr="0"/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Font typeface="Wingdings" pitchFamily="2" charset="2"/>
          <a:buChar char="§"/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rk-global-widescreen-presentation-template-v2.4.potx" id="{FF47DC87-4AF3-4D5F-88A3-1A611FD73713}" vid="{9C713DCE-E696-4823-8065-8CD9EA89C18E}"/>
    </a:ext>
  </a:extLst>
</a:theme>
</file>

<file path=ppt/theme/theme3.xml><?xml version="1.0" encoding="utf-8"?>
<a:theme xmlns:a="http://schemas.openxmlformats.org/drawingml/2006/main" name="Small Text [DARK]">
  <a:themeElements>
    <a:clrScheme name="Custom 83">
      <a:dk1>
        <a:srgbClr val="1A1A24"/>
      </a:dk1>
      <a:lt1>
        <a:srgbClr val="FFFFFF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  <a:miter lim="800000"/>
        </a:ln>
      </a:spPr>
      <a:bodyPr lIns="108000" tIns="108000" rIns="108000" bIns="108000" rtlCol="0" anchor="t" anchorCtr="0"/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Font typeface="Wingdings" pitchFamily="2" charset="2"/>
          <a:buChar char="§"/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rk-global-widescreen-presentation-template-v2.4.potx" id="{FF47DC87-4AF3-4D5F-88A3-1A611FD73713}" vid="{29A13F27-D99A-47F1-9FB2-15179DC81C89}"/>
    </a:ext>
  </a:extLst>
</a:theme>
</file>

<file path=ppt/theme/theme4.xml><?xml version="1.0" encoding="utf-8"?>
<a:theme xmlns:a="http://schemas.openxmlformats.org/drawingml/2006/main" name="EY Core Slides">
  <a:themeElements>
    <a:clrScheme name="Custom 84">
      <a:dk1>
        <a:srgbClr val="1A1A24"/>
      </a:dk1>
      <a:lt1>
        <a:srgbClr val="FFFFFF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  <a:miter lim="800000"/>
        </a:ln>
      </a:spPr>
      <a:bodyPr lIns="108000" tIns="108000" rIns="108000" bIns="108000" rtlCol="0" anchor="t" anchorCtr="0"/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Font typeface="Wingdings" pitchFamily="2" charset="2"/>
          <a:buChar char="§"/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rk-global-widescreen-presentation-template-v2.4.potx" id="{FF47DC87-4AF3-4D5F-88A3-1A611FD73713}" vid="{CB1ACC43-5325-4A4C-8759-2237F5CEFBF9}"/>
    </a:ext>
  </a:extLst>
</a:theme>
</file>

<file path=ppt/theme/theme5.xml><?xml version="1.0" encoding="utf-8"?>
<a:theme xmlns:a="http://schemas.openxmlformats.org/drawingml/2006/main" name="1_EY Core Slides">
  <a:themeElements>
    <a:clrScheme name="Custom 84">
      <a:dk1>
        <a:srgbClr val="1A1A24"/>
      </a:dk1>
      <a:lt1>
        <a:srgbClr val="FFFFFF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  <a:miter lim="800000"/>
        </a:ln>
      </a:spPr>
      <a:bodyPr lIns="108000" tIns="108000" rIns="108000" bIns="108000" rtlCol="0" anchor="t" anchorCtr="0"/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Font typeface="Wingdings" pitchFamily="2" charset="2"/>
          <a:buChar char="§"/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6054894B-E48A-4433-A55E-01D7C38471C3}" vid="{794C0507-F9C8-432A-B0D3-685488371FA7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0c908b1-f277-4340-90a9-4611d0b0f078" xsi:nil="true"/>
    <lcf76f155ced4ddcb4097134ff3c332f xmlns="1a29c11f-76a0-4470-9317-8a91e951d6f4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3C57291EC87E24B88D772E424878006" ma:contentTypeVersion="19" ma:contentTypeDescription="Crear nuevo documento." ma:contentTypeScope="" ma:versionID="5d8b24d7c589758cec2f7aacd5161eec">
  <xsd:schema xmlns:xsd="http://www.w3.org/2001/XMLSchema" xmlns:xs="http://www.w3.org/2001/XMLSchema" xmlns:p="http://schemas.microsoft.com/office/2006/metadata/properties" xmlns:ns2="1a29c11f-76a0-4470-9317-8a91e951d6f4" xmlns:ns3="40fe38b3-517e-4a37-bcd0-7ae18f3b9d57" xmlns:ns4="50c908b1-f277-4340-90a9-4611d0b0f078" targetNamespace="http://schemas.microsoft.com/office/2006/metadata/properties" ma:root="true" ma:fieldsID="c604243ef3928b2f34be25a8d44d14a2" ns2:_="" ns3:_="" ns4:_="">
    <xsd:import namespace="1a29c11f-76a0-4470-9317-8a91e951d6f4"/>
    <xsd:import namespace="40fe38b3-517e-4a37-bcd0-7ae18f3b9d57"/>
    <xsd:import namespace="50c908b1-f277-4340-90a9-4611d0b0f0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29c11f-76a0-4470-9317-8a91e951d6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Etiquetas de imagen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fe38b3-517e-4a37-bcd0-7ae18f3b9d5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c908b1-f277-4340-90a9-4611d0b0f078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76fb7c2-df98-4626-bb3a-f67c90f21a0b}" ma:internalName="TaxCatchAll" ma:showField="CatchAllData" ma:web="40fe38b3-517e-4a37-bcd0-7ae18f3b9d5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AC014D9-0F8B-4066-823B-E589F64FAF1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5087F47-891A-4332-AEE8-A122FCE56C49}">
  <ds:schemaRefs>
    <ds:schemaRef ds:uri="http://www.w3.org/XML/1998/namespace"/>
    <ds:schemaRef ds:uri="50c908b1-f277-4340-90a9-4611d0b0f078"/>
    <ds:schemaRef ds:uri="http://schemas.openxmlformats.org/package/2006/metadata/core-properties"/>
    <ds:schemaRef ds:uri="http://purl.org/dc/terms/"/>
    <ds:schemaRef ds:uri="http://purl.org/dc/elements/1.1/"/>
    <ds:schemaRef ds:uri="http://purl.org/dc/dcmitype/"/>
    <ds:schemaRef ds:uri="1a29c11f-76a0-4470-9317-8a91e951d6f4"/>
    <ds:schemaRef ds:uri="http://schemas.microsoft.com/office/2006/documentManagement/types"/>
    <ds:schemaRef ds:uri="http://schemas.microsoft.com/office/infopath/2007/PartnerControls"/>
    <ds:schemaRef ds:uri="40fe38b3-517e-4a37-bcd0-7ae18f3b9d57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2A59904A-7F95-458B-AEA7-20129C2E25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29c11f-76a0-4470-9317-8a91e951d6f4"/>
    <ds:schemaRef ds:uri="40fe38b3-517e-4a37-bcd0-7ae18f3b9d57"/>
    <ds:schemaRef ds:uri="50c908b1-f277-4340-90a9-4611d0b0f0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ark-global-widescreen-presentation-template-v2.4</Template>
  <TotalTime>12334</TotalTime>
  <Words>1470</Words>
  <Application>Microsoft Office PowerPoint</Application>
  <PresentationFormat>Widescreen</PresentationFormat>
  <Paragraphs>134</Paragraphs>
  <Slides>1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2" baseType="lpstr">
      <vt:lpstr>Arial</vt:lpstr>
      <vt:lpstr>Calibri</vt:lpstr>
      <vt:lpstr>Calibri Light</vt:lpstr>
      <vt:lpstr>EYInterstate</vt:lpstr>
      <vt:lpstr>EYInterstate Light</vt:lpstr>
      <vt:lpstr>EYInterstate Regular</vt:lpstr>
      <vt:lpstr>Georgia</vt:lpstr>
      <vt:lpstr>Georgia Pro</vt:lpstr>
      <vt:lpstr>Wingdings</vt:lpstr>
      <vt:lpstr>Large Text [SPECTRUM]</vt:lpstr>
      <vt:lpstr>Large Text [DARK]</vt:lpstr>
      <vt:lpstr>Small Text [DARK]</vt:lpstr>
      <vt:lpstr>EY Core Slides</vt:lpstr>
      <vt:lpstr>1_EY Core Slides</vt:lpstr>
      <vt:lpstr>think-cell Slide</vt:lpstr>
      <vt:lpstr>Presencia China en Chile y Latinoamérica</vt:lpstr>
      <vt:lpstr>PowerPoint Presentation</vt:lpstr>
      <vt:lpstr>Inversión y comercio entre China y Latinoamérica</vt:lpstr>
      <vt:lpstr>Presencia China en la región</vt:lpstr>
      <vt:lpstr>Inversión china en la región</vt:lpstr>
      <vt:lpstr>PowerPoint Presentation</vt:lpstr>
      <vt:lpstr>PowerPoint Presentation</vt:lpstr>
      <vt:lpstr>Comercio China - LAC</vt:lpstr>
      <vt:lpstr>Inversión y comercio entre China y Chi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Últimos años: Reforzando los lazos en medio de la incertidumbre</vt:lpstr>
      <vt:lpstr>China ha estao reforzando su posicionamiento en Latinoamérica</vt:lpstr>
      <vt:lpstr>Presencia China en Chile y Latinoaméric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uz Zambrana Villalobos</dc:creator>
  <cp:lastModifiedBy>Longyan Shen</cp:lastModifiedBy>
  <cp:revision>18</cp:revision>
  <dcterms:created xsi:type="dcterms:W3CDTF">2025-04-08T15:06:43Z</dcterms:created>
  <dcterms:modified xsi:type="dcterms:W3CDTF">2025-05-29T12:5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C57291EC87E24B88D772E424878006</vt:lpwstr>
  </property>
  <property fmtid="{D5CDD505-2E9C-101B-9397-08002B2CF9AE}" pid="3" name="MediaServiceImageTags">
    <vt:lpwstr/>
  </property>
</Properties>
</file>